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Lst>
  <p:sldSz cx="9906000" cy="6858000" type="A4"/>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015" userDrawn="1">
          <p15:clr>
            <a:srgbClr val="A4A3A4"/>
          </p15:clr>
        </p15:guide>
        <p15:guide id="2" pos="3206" userDrawn="1">
          <p15:clr>
            <a:srgbClr val="A4A3A4"/>
          </p15:clr>
        </p15:guide>
        <p15:guide id="3" pos="3225" userDrawn="1">
          <p15:clr>
            <a:srgbClr val="A4A3A4"/>
          </p15:clr>
        </p15:guide>
        <p15:guide id="4" orient="horz" pos="2035" userDrawn="1">
          <p15:clr>
            <a:srgbClr val="A4A3A4"/>
          </p15:clr>
        </p15:guide>
        <p15:guide id="5" pos="3224" userDrawn="1">
          <p15:clr>
            <a:srgbClr val="A4A3A4"/>
          </p15:clr>
        </p15:guide>
        <p15:guide id="6" pos="3241" userDrawn="1">
          <p15:clr>
            <a:srgbClr val="A4A3A4"/>
          </p15:clr>
        </p15:guide>
        <p15:guide id="7" orient="horz" pos="2902" userDrawn="1">
          <p15:clr>
            <a:srgbClr val="A4A3A4"/>
          </p15:clr>
        </p15:guide>
        <p15:guide id="8" orient="horz" pos="2929" userDrawn="1">
          <p15:clr>
            <a:srgbClr val="A4A3A4"/>
          </p15:clr>
        </p15:guide>
        <p15:guide id="9" pos="2183" userDrawn="1">
          <p15:clr>
            <a:srgbClr val="A4A3A4"/>
          </p15:clr>
        </p15:guide>
        <p15:guide id="10" pos="2198" userDrawn="1">
          <p15:clr>
            <a:srgbClr val="A4A3A4"/>
          </p15:clr>
        </p15:guide>
        <p15:guide id="11" pos="2196" userDrawn="1">
          <p15:clr>
            <a:srgbClr val="A4A3A4"/>
          </p15:clr>
        </p15:guide>
        <p15:guide id="12" pos="2209" userDrawn="1">
          <p15:clr>
            <a:srgbClr val="A4A3A4"/>
          </p15:clr>
        </p15:guide>
        <p15:guide id="13" orient="horz" pos="2259" userDrawn="1">
          <p15:clr>
            <a:srgbClr val="A4A3A4"/>
          </p15:clr>
        </p15:guide>
        <p15:guide id="14" orient="horz" pos="2278" userDrawn="1">
          <p15:clr>
            <a:srgbClr val="A4A3A4"/>
          </p15:clr>
        </p15:guide>
        <p15:guide id="15" orient="horz" pos="3251" userDrawn="1">
          <p15:clr>
            <a:srgbClr val="A4A3A4"/>
          </p15:clr>
        </p15:guide>
        <p15:guide id="16" orient="horz" pos="3282" userDrawn="1">
          <p15:clr>
            <a:srgbClr val="A4A3A4"/>
          </p15:clr>
        </p15:guide>
        <p15:guide id="17" pos="7802" userDrawn="1">
          <p15:clr>
            <a:srgbClr val="A4A3A4"/>
          </p15:clr>
        </p15:guide>
        <p15:guide id="18" pos="7843" userDrawn="1">
          <p15:clr>
            <a:srgbClr val="A4A3A4"/>
          </p15:clr>
        </p15:guide>
        <p15:guide id="19" pos="7842" userDrawn="1">
          <p15:clr>
            <a:srgbClr val="A4A3A4"/>
          </p15:clr>
        </p15:guide>
        <p15:guide id="20" pos="7883" userDrawn="1">
          <p15:clr>
            <a:srgbClr val="A4A3A4"/>
          </p15:clr>
        </p15:guide>
        <p15:guide id="21" pos="5313" userDrawn="1">
          <p15:clr>
            <a:srgbClr val="A4A3A4"/>
          </p15:clr>
        </p15:guide>
        <p15:guide id="22" pos="5344" userDrawn="1">
          <p15:clr>
            <a:srgbClr val="A4A3A4"/>
          </p15:clr>
        </p15:guide>
        <p15:guide id="23" pos="5341" userDrawn="1">
          <p15:clr>
            <a:srgbClr val="A4A3A4"/>
          </p15:clr>
        </p15:guide>
        <p15:guide id="24" pos="5372" userDrawn="1">
          <p15:clr>
            <a:srgbClr val="A4A3A4"/>
          </p15:clr>
        </p15:guide>
        <p15:guide id="25" orient="horz" pos="1800" userDrawn="1">
          <p15:clr>
            <a:srgbClr val="A4A3A4"/>
          </p15:clr>
        </p15:guide>
        <p15:guide id="26" orient="horz" pos="1816" userDrawn="1">
          <p15:clr>
            <a:srgbClr val="A4A3A4"/>
          </p15:clr>
        </p15:guide>
        <p15:guide id="27" orient="horz" pos="2590" userDrawn="1">
          <p15:clr>
            <a:srgbClr val="A4A3A4"/>
          </p15:clr>
        </p15:guide>
        <p15:guide id="28" orient="horz" pos="2612" userDrawn="1">
          <p15:clr>
            <a:srgbClr val="A4A3A4"/>
          </p15:clr>
        </p15:guide>
        <p15:guide id="29" orient="horz" pos="2930" userDrawn="1">
          <p15:clr>
            <a:srgbClr val="A4A3A4"/>
          </p15:clr>
        </p15:guide>
        <p15:guide id="30" pos="1318" userDrawn="1">
          <p15:clr>
            <a:srgbClr val="A4A3A4"/>
          </p15:clr>
        </p15:guide>
        <p15:guide id="31" pos="1325" userDrawn="1">
          <p15:clr>
            <a:srgbClr val="A4A3A4"/>
          </p15:clr>
        </p15:guide>
        <p15:guide id="32" pos="1332" userDrawn="1">
          <p15:clr>
            <a:srgbClr val="A4A3A4"/>
          </p15:clr>
        </p15:guide>
        <p15:guide id="33" pos="898" userDrawn="1">
          <p15:clr>
            <a:srgbClr val="A4A3A4"/>
          </p15:clr>
        </p15:guide>
        <p15:guide id="34" pos="903" userDrawn="1">
          <p15:clr>
            <a:srgbClr val="A4A3A4"/>
          </p15:clr>
        </p15:guide>
        <p15:guide id="35" pos="902" userDrawn="1">
          <p15:clr>
            <a:srgbClr val="A4A3A4"/>
          </p15:clr>
        </p15:guide>
        <p15:guide id="36" pos="9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r. Johannes Lubosch" initials="DJ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80C535"/>
    <a:srgbClr val="0066FF"/>
    <a:srgbClr val="FFFFCC"/>
    <a:srgbClr val="99FFCC"/>
    <a:srgbClr val="006600"/>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857" autoAdjust="0"/>
    <p:restoredTop sz="94291" autoAdjust="0"/>
  </p:normalViewPr>
  <p:slideViewPr>
    <p:cSldViewPr>
      <p:cViewPr varScale="1">
        <p:scale>
          <a:sx n="122" d="100"/>
          <a:sy n="122" d="100"/>
        </p:scale>
        <p:origin x="810" y="102"/>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75" d="100"/>
          <a:sy n="75" d="100"/>
        </p:scale>
        <p:origin x="5172" y="40"/>
      </p:cViewPr>
      <p:guideLst>
        <p:guide orient="horz" pos="2015"/>
        <p:guide pos="3206"/>
        <p:guide pos="3225"/>
        <p:guide orient="horz" pos="2035"/>
        <p:guide pos="3224"/>
        <p:guide pos="3241"/>
        <p:guide orient="horz" pos="2902"/>
        <p:guide orient="horz" pos="2929"/>
        <p:guide pos="2183"/>
        <p:guide pos="2198"/>
        <p:guide pos="2196"/>
        <p:guide pos="2209"/>
        <p:guide orient="horz" pos="2259"/>
        <p:guide orient="horz" pos="2278"/>
        <p:guide orient="horz" pos="3251"/>
        <p:guide orient="horz" pos="3282"/>
        <p:guide pos="7802"/>
        <p:guide pos="7843"/>
        <p:guide pos="7842"/>
        <p:guide pos="7883"/>
        <p:guide pos="5313"/>
        <p:guide pos="5344"/>
        <p:guide pos="5341"/>
        <p:guide pos="5372"/>
        <p:guide orient="horz" pos="1800"/>
        <p:guide orient="horz" pos="1816"/>
        <p:guide orient="horz" pos="2590"/>
        <p:guide orient="horz" pos="2612"/>
        <p:guide orient="horz" pos="2930"/>
        <p:guide pos="1318"/>
        <p:guide pos="1325"/>
        <p:guide pos="1332"/>
        <p:guide pos="898"/>
        <p:guide pos="903"/>
        <p:guide pos="902"/>
        <p:guide pos="9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s>
</file>

<file path=ppt/diagrams/_rels/data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image" Target="../media/image44.png"/><Relationship Id="rId6" Type="http://schemas.openxmlformats.org/officeDocument/2006/relationships/image" Target="../media/image48.png"/><Relationship Id="rId5" Type="http://schemas.openxmlformats.org/officeDocument/2006/relationships/image" Target="../media/image41.png"/><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51.png"/></Relationships>
</file>

<file path=ppt/diagrams/_rels/data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png"/></Relationships>
</file>

<file path=ppt/diagrams/_rels/data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diagrams/_rels/data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jpeg"/><Relationship Id="rId2" Type="http://schemas.openxmlformats.org/officeDocument/2006/relationships/image" Target="../media/image33.png"/><Relationship Id="rId1" Type="http://schemas.openxmlformats.org/officeDocument/2006/relationships/image" Target="../media/image31.png"/><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png"/><Relationship Id="rId4" Type="http://schemas.openxmlformats.org/officeDocument/2006/relationships/image" Target="../media/image35.jpeg"/><Relationship Id="rId9" Type="http://schemas.openxmlformats.org/officeDocument/2006/relationships/image" Target="../media/image40.png"/></Relationships>
</file>

<file path=ppt/diagrams/_rels/drawing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image" Target="../media/image44.png"/><Relationship Id="rId6" Type="http://schemas.openxmlformats.org/officeDocument/2006/relationships/image" Target="../media/image48.png"/><Relationship Id="rId5" Type="http://schemas.openxmlformats.org/officeDocument/2006/relationships/image" Target="../media/image41.png"/><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51.png"/></Relationships>
</file>

<file path=ppt/diagrams/_rels/drawing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image" Target="../media/image15.png"/></Relationships>
</file>

<file path=ppt/diagrams/_rels/drawing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7.png"/><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diagrams/_rels/drawing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jpeg"/><Relationship Id="rId2" Type="http://schemas.openxmlformats.org/officeDocument/2006/relationships/image" Target="../media/image33.png"/><Relationship Id="rId1" Type="http://schemas.openxmlformats.org/officeDocument/2006/relationships/image" Target="../media/image31.png"/><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png"/><Relationship Id="rId4" Type="http://schemas.openxmlformats.org/officeDocument/2006/relationships/image" Target="../media/image35.jpeg"/><Relationship Id="rId9"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5F2FF1-6CAD-44AF-8CD1-63836A3CCCEC}" type="doc">
      <dgm:prSet loTypeId="urn:microsoft.com/office/officeart/2005/8/layout/pyramid1" loCatId="pyramid" qsTypeId="urn:microsoft.com/office/officeart/2005/8/quickstyle/simple1" qsCatId="simple" csTypeId="urn:microsoft.com/office/officeart/2005/8/colors/colorful5" csCatId="colorful" phldr="1"/>
      <dgm:spPr/>
    </dgm:pt>
    <dgm:pt modelId="{E2FEDE78-A811-4EB7-B6EB-858F43D3D89B}">
      <dgm:prSet phldrT="[Text]" custT="1"/>
      <dgm:spPr/>
      <dgm:t>
        <a:bodyPr/>
        <a:lstStyle/>
        <a:p>
          <a:r>
            <a:rPr lang="en-IN" sz="1100" dirty="0"/>
            <a:t>Policy</a:t>
          </a:r>
        </a:p>
      </dgm:t>
    </dgm:pt>
    <dgm:pt modelId="{24D8411F-0DE3-4BC2-BE81-38C298BF6D9E}" type="parTrans" cxnId="{DB1F5A70-AFF8-44CB-A7BF-B6294AC5309B}">
      <dgm:prSet/>
      <dgm:spPr/>
      <dgm:t>
        <a:bodyPr/>
        <a:lstStyle/>
        <a:p>
          <a:endParaRPr lang="en-IN" sz="1000"/>
        </a:p>
      </dgm:t>
    </dgm:pt>
    <dgm:pt modelId="{BC5FB75D-0B35-4B10-ABBD-7C556FEFD972}" type="sibTrans" cxnId="{DB1F5A70-AFF8-44CB-A7BF-B6294AC5309B}">
      <dgm:prSet/>
      <dgm:spPr/>
      <dgm:t>
        <a:bodyPr/>
        <a:lstStyle/>
        <a:p>
          <a:endParaRPr lang="en-IN" sz="1000"/>
        </a:p>
      </dgm:t>
    </dgm:pt>
    <dgm:pt modelId="{65CF05CC-5986-4222-8675-AAE41D971B2A}">
      <dgm:prSet phldrT="[Text]" custT="1"/>
      <dgm:spPr/>
      <dgm:t>
        <a:bodyPr/>
        <a:lstStyle/>
        <a:p>
          <a:r>
            <a:rPr lang="en-IN" sz="1100" dirty="0"/>
            <a:t>Requirement</a:t>
          </a:r>
        </a:p>
      </dgm:t>
    </dgm:pt>
    <dgm:pt modelId="{94E26077-2A75-460F-AE67-07F2C5183801}" type="parTrans" cxnId="{8036A55F-4570-4823-80FC-54C6BF00D0DB}">
      <dgm:prSet/>
      <dgm:spPr/>
      <dgm:t>
        <a:bodyPr/>
        <a:lstStyle/>
        <a:p>
          <a:endParaRPr lang="en-IN" sz="1000"/>
        </a:p>
      </dgm:t>
    </dgm:pt>
    <dgm:pt modelId="{C51DA770-8758-4C6C-982D-A5DE776D05AC}" type="sibTrans" cxnId="{8036A55F-4570-4823-80FC-54C6BF00D0DB}">
      <dgm:prSet/>
      <dgm:spPr/>
      <dgm:t>
        <a:bodyPr/>
        <a:lstStyle/>
        <a:p>
          <a:endParaRPr lang="en-IN" sz="1000"/>
        </a:p>
      </dgm:t>
    </dgm:pt>
    <dgm:pt modelId="{B9C9AE44-4A5B-4872-8C59-633C1F673A3F}">
      <dgm:prSet phldrT="[Text]" custT="1"/>
      <dgm:spPr/>
      <dgm:t>
        <a:bodyPr/>
        <a:lstStyle/>
        <a:p>
          <a:r>
            <a:rPr lang="en-IN" sz="1100" dirty="0"/>
            <a:t>Standards</a:t>
          </a:r>
        </a:p>
      </dgm:t>
    </dgm:pt>
    <dgm:pt modelId="{A2D7BCA8-E72E-48E0-BAD4-2ECE21DD6291}" type="parTrans" cxnId="{156CEC41-6E77-4AFE-B71E-6FC4AA38ED25}">
      <dgm:prSet/>
      <dgm:spPr/>
      <dgm:t>
        <a:bodyPr/>
        <a:lstStyle/>
        <a:p>
          <a:endParaRPr lang="en-IN" sz="1000"/>
        </a:p>
      </dgm:t>
    </dgm:pt>
    <dgm:pt modelId="{DDABC44F-5A46-4B67-8773-65D2EB810F53}" type="sibTrans" cxnId="{156CEC41-6E77-4AFE-B71E-6FC4AA38ED25}">
      <dgm:prSet/>
      <dgm:spPr/>
      <dgm:t>
        <a:bodyPr/>
        <a:lstStyle/>
        <a:p>
          <a:endParaRPr lang="en-IN" sz="1000"/>
        </a:p>
      </dgm:t>
    </dgm:pt>
    <dgm:pt modelId="{33F0EA65-858B-473C-A636-29CDB48D73EE}">
      <dgm:prSet phldrT="[Text]" custT="1"/>
      <dgm:spPr/>
      <dgm:t>
        <a:bodyPr/>
        <a:lstStyle/>
        <a:p>
          <a:r>
            <a:rPr lang="en-IN" sz="1100" dirty="0"/>
            <a:t>Guideline</a:t>
          </a:r>
        </a:p>
      </dgm:t>
    </dgm:pt>
    <dgm:pt modelId="{53D4CA74-B22F-4ECD-97C6-BB734722D5E1}" type="parTrans" cxnId="{18BF543A-50AF-4F33-A887-73F6BD24D815}">
      <dgm:prSet/>
      <dgm:spPr/>
      <dgm:t>
        <a:bodyPr/>
        <a:lstStyle/>
        <a:p>
          <a:endParaRPr lang="en-IN" sz="1000"/>
        </a:p>
      </dgm:t>
    </dgm:pt>
    <dgm:pt modelId="{11C90ECA-C4DC-4F24-87B2-C5B890C34671}" type="sibTrans" cxnId="{18BF543A-50AF-4F33-A887-73F6BD24D815}">
      <dgm:prSet/>
      <dgm:spPr/>
      <dgm:t>
        <a:bodyPr/>
        <a:lstStyle/>
        <a:p>
          <a:endParaRPr lang="en-IN" sz="1000"/>
        </a:p>
      </dgm:t>
    </dgm:pt>
    <dgm:pt modelId="{38955ED1-060E-4E12-A5A3-F4A4A3CC1133}">
      <dgm:prSet phldrT="[Text]" custT="1"/>
      <dgm:spPr/>
      <dgm:t>
        <a:bodyPr/>
        <a:lstStyle/>
        <a:p>
          <a:r>
            <a:rPr lang="en-IN" sz="1100" dirty="0"/>
            <a:t>Standard operating procedure</a:t>
          </a:r>
        </a:p>
      </dgm:t>
    </dgm:pt>
    <dgm:pt modelId="{C80190BE-0168-496F-92E6-68B568A5D15E}" type="parTrans" cxnId="{6F1A2551-4EE5-4C39-8FCB-56CCB02102AF}">
      <dgm:prSet/>
      <dgm:spPr/>
      <dgm:t>
        <a:bodyPr/>
        <a:lstStyle/>
        <a:p>
          <a:endParaRPr lang="en-IN" sz="1000"/>
        </a:p>
      </dgm:t>
    </dgm:pt>
    <dgm:pt modelId="{CEE52AE5-384A-4BA6-B9C3-C743A3008481}" type="sibTrans" cxnId="{6F1A2551-4EE5-4C39-8FCB-56CCB02102AF}">
      <dgm:prSet/>
      <dgm:spPr/>
      <dgm:t>
        <a:bodyPr/>
        <a:lstStyle/>
        <a:p>
          <a:endParaRPr lang="en-IN" sz="1000"/>
        </a:p>
      </dgm:t>
    </dgm:pt>
    <dgm:pt modelId="{692761B8-7AA9-40BD-9978-2589D28F99CC}" type="pres">
      <dgm:prSet presAssocID="{F05F2FF1-6CAD-44AF-8CD1-63836A3CCCEC}" presName="Name0" presStyleCnt="0">
        <dgm:presLayoutVars>
          <dgm:dir/>
          <dgm:animLvl val="lvl"/>
          <dgm:resizeHandles val="exact"/>
        </dgm:presLayoutVars>
      </dgm:prSet>
      <dgm:spPr/>
    </dgm:pt>
    <dgm:pt modelId="{BDFDF869-5DB1-4F09-AA83-F5F2BB1585A6}" type="pres">
      <dgm:prSet presAssocID="{E2FEDE78-A811-4EB7-B6EB-858F43D3D89B}" presName="Name8" presStyleCnt="0"/>
      <dgm:spPr/>
    </dgm:pt>
    <dgm:pt modelId="{E22B4B72-C164-4B69-9899-CA7796BEFB96}" type="pres">
      <dgm:prSet presAssocID="{E2FEDE78-A811-4EB7-B6EB-858F43D3D89B}" presName="level" presStyleLbl="node1" presStyleIdx="0" presStyleCnt="5">
        <dgm:presLayoutVars>
          <dgm:chMax val="1"/>
          <dgm:bulletEnabled val="1"/>
        </dgm:presLayoutVars>
      </dgm:prSet>
      <dgm:spPr/>
    </dgm:pt>
    <dgm:pt modelId="{1643AEC1-8166-4E7A-BA42-309597A5BD6F}" type="pres">
      <dgm:prSet presAssocID="{E2FEDE78-A811-4EB7-B6EB-858F43D3D89B}" presName="levelTx" presStyleLbl="revTx" presStyleIdx="0" presStyleCnt="0">
        <dgm:presLayoutVars>
          <dgm:chMax val="1"/>
          <dgm:bulletEnabled val="1"/>
        </dgm:presLayoutVars>
      </dgm:prSet>
      <dgm:spPr/>
    </dgm:pt>
    <dgm:pt modelId="{0A361DB6-EFC5-4646-A968-9A4A879E8720}" type="pres">
      <dgm:prSet presAssocID="{65CF05CC-5986-4222-8675-AAE41D971B2A}" presName="Name8" presStyleCnt="0"/>
      <dgm:spPr/>
    </dgm:pt>
    <dgm:pt modelId="{065408BB-C41D-4916-BE3C-AE29C4836A8F}" type="pres">
      <dgm:prSet presAssocID="{65CF05CC-5986-4222-8675-AAE41D971B2A}" presName="level" presStyleLbl="node1" presStyleIdx="1" presStyleCnt="5">
        <dgm:presLayoutVars>
          <dgm:chMax val="1"/>
          <dgm:bulletEnabled val="1"/>
        </dgm:presLayoutVars>
      </dgm:prSet>
      <dgm:spPr/>
    </dgm:pt>
    <dgm:pt modelId="{3223C9A4-D7CC-4D18-86AB-7B64A545855F}" type="pres">
      <dgm:prSet presAssocID="{65CF05CC-5986-4222-8675-AAE41D971B2A}" presName="levelTx" presStyleLbl="revTx" presStyleIdx="0" presStyleCnt="0">
        <dgm:presLayoutVars>
          <dgm:chMax val="1"/>
          <dgm:bulletEnabled val="1"/>
        </dgm:presLayoutVars>
      </dgm:prSet>
      <dgm:spPr/>
    </dgm:pt>
    <dgm:pt modelId="{3C920133-6FC4-4DE4-9461-D1A8A389B876}" type="pres">
      <dgm:prSet presAssocID="{B9C9AE44-4A5B-4872-8C59-633C1F673A3F}" presName="Name8" presStyleCnt="0"/>
      <dgm:spPr/>
    </dgm:pt>
    <dgm:pt modelId="{4918DCC6-0FEA-4B36-AC17-67373041501C}" type="pres">
      <dgm:prSet presAssocID="{B9C9AE44-4A5B-4872-8C59-633C1F673A3F}" presName="level" presStyleLbl="node1" presStyleIdx="2" presStyleCnt="5">
        <dgm:presLayoutVars>
          <dgm:chMax val="1"/>
          <dgm:bulletEnabled val="1"/>
        </dgm:presLayoutVars>
      </dgm:prSet>
      <dgm:spPr/>
    </dgm:pt>
    <dgm:pt modelId="{DA630F2B-5C7B-4D99-AB37-5D451CA324DA}" type="pres">
      <dgm:prSet presAssocID="{B9C9AE44-4A5B-4872-8C59-633C1F673A3F}" presName="levelTx" presStyleLbl="revTx" presStyleIdx="0" presStyleCnt="0">
        <dgm:presLayoutVars>
          <dgm:chMax val="1"/>
          <dgm:bulletEnabled val="1"/>
        </dgm:presLayoutVars>
      </dgm:prSet>
      <dgm:spPr/>
    </dgm:pt>
    <dgm:pt modelId="{16FE5712-DBCA-44AF-9D40-22F2E5E877AD}" type="pres">
      <dgm:prSet presAssocID="{33F0EA65-858B-473C-A636-29CDB48D73EE}" presName="Name8" presStyleCnt="0"/>
      <dgm:spPr/>
    </dgm:pt>
    <dgm:pt modelId="{B5916C0C-FDD2-4DE0-8EE8-23A38A2AF6CC}" type="pres">
      <dgm:prSet presAssocID="{33F0EA65-858B-473C-A636-29CDB48D73EE}" presName="level" presStyleLbl="node1" presStyleIdx="3" presStyleCnt="5">
        <dgm:presLayoutVars>
          <dgm:chMax val="1"/>
          <dgm:bulletEnabled val="1"/>
        </dgm:presLayoutVars>
      </dgm:prSet>
      <dgm:spPr/>
    </dgm:pt>
    <dgm:pt modelId="{260690BE-6520-4D02-A750-116F543E0155}" type="pres">
      <dgm:prSet presAssocID="{33F0EA65-858B-473C-A636-29CDB48D73EE}" presName="levelTx" presStyleLbl="revTx" presStyleIdx="0" presStyleCnt="0">
        <dgm:presLayoutVars>
          <dgm:chMax val="1"/>
          <dgm:bulletEnabled val="1"/>
        </dgm:presLayoutVars>
      </dgm:prSet>
      <dgm:spPr/>
    </dgm:pt>
    <dgm:pt modelId="{766AD5AC-B724-41C6-A666-FA6D8D6333EC}" type="pres">
      <dgm:prSet presAssocID="{38955ED1-060E-4E12-A5A3-F4A4A3CC1133}" presName="Name8" presStyleCnt="0"/>
      <dgm:spPr/>
    </dgm:pt>
    <dgm:pt modelId="{4D8D53ED-E555-4E84-A768-6E98326AB2AA}" type="pres">
      <dgm:prSet presAssocID="{38955ED1-060E-4E12-A5A3-F4A4A3CC1133}" presName="level" presStyleLbl="node1" presStyleIdx="4" presStyleCnt="5">
        <dgm:presLayoutVars>
          <dgm:chMax val="1"/>
          <dgm:bulletEnabled val="1"/>
        </dgm:presLayoutVars>
      </dgm:prSet>
      <dgm:spPr/>
    </dgm:pt>
    <dgm:pt modelId="{0783C52B-BF82-4F0D-B628-6A59D8CB4781}" type="pres">
      <dgm:prSet presAssocID="{38955ED1-060E-4E12-A5A3-F4A4A3CC1133}" presName="levelTx" presStyleLbl="revTx" presStyleIdx="0" presStyleCnt="0">
        <dgm:presLayoutVars>
          <dgm:chMax val="1"/>
          <dgm:bulletEnabled val="1"/>
        </dgm:presLayoutVars>
      </dgm:prSet>
      <dgm:spPr/>
    </dgm:pt>
  </dgm:ptLst>
  <dgm:cxnLst>
    <dgm:cxn modelId="{639CB30E-1BE9-44A4-A39F-F6FBEB69C1BE}" type="presOf" srcId="{38955ED1-060E-4E12-A5A3-F4A4A3CC1133}" destId="{4D8D53ED-E555-4E84-A768-6E98326AB2AA}" srcOrd="0" destOrd="0" presId="urn:microsoft.com/office/officeart/2005/8/layout/pyramid1"/>
    <dgm:cxn modelId="{18BF543A-50AF-4F33-A887-73F6BD24D815}" srcId="{F05F2FF1-6CAD-44AF-8CD1-63836A3CCCEC}" destId="{33F0EA65-858B-473C-A636-29CDB48D73EE}" srcOrd="3" destOrd="0" parTransId="{53D4CA74-B22F-4ECD-97C6-BB734722D5E1}" sibTransId="{11C90ECA-C4DC-4F24-87B2-C5B890C34671}"/>
    <dgm:cxn modelId="{CE956F5F-BA7F-4298-A2F0-502F92FDB280}" type="presOf" srcId="{B9C9AE44-4A5B-4872-8C59-633C1F673A3F}" destId="{4918DCC6-0FEA-4B36-AC17-67373041501C}" srcOrd="0" destOrd="0" presId="urn:microsoft.com/office/officeart/2005/8/layout/pyramid1"/>
    <dgm:cxn modelId="{8036A55F-4570-4823-80FC-54C6BF00D0DB}" srcId="{F05F2FF1-6CAD-44AF-8CD1-63836A3CCCEC}" destId="{65CF05CC-5986-4222-8675-AAE41D971B2A}" srcOrd="1" destOrd="0" parTransId="{94E26077-2A75-460F-AE67-07F2C5183801}" sibTransId="{C51DA770-8758-4C6C-982D-A5DE776D05AC}"/>
    <dgm:cxn modelId="{156CEC41-6E77-4AFE-B71E-6FC4AA38ED25}" srcId="{F05F2FF1-6CAD-44AF-8CD1-63836A3CCCEC}" destId="{B9C9AE44-4A5B-4872-8C59-633C1F673A3F}" srcOrd="2" destOrd="0" parTransId="{A2D7BCA8-E72E-48E0-BAD4-2ECE21DD6291}" sibTransId="{DDABC44F-5A46-4B67-8773-65D2EB810F53}"/>
    <dgm:cxn modelId="{63776F47-6B26-47E2-B3CC-67E8DCF75E09}" type="presOf" srcId="{65CF05CC-5986-4222-8675-AAE41D971B2A}" destId="{3223C9A4-D7CC-4D18-86AB-7B64A545855F}" srcOrd="1" destOrd="0" presId="urn:microsoft.com/office/officeart/2005/8/layout/pyramid1"/>
    <dgm:cxn modelId="{77C05068-C066-4D03-B4EB-05332093DB95}" type="presOf" srcId="{E2FEDE78-A811-4EB7-B6EB-858F43D3D89B}" destId="{E22B4B72-C164-4B69-9899-CA7796BEFB96}" srcOrd="0" destOrd="0" presId="urn:microsoft.com/office/officeart/2005/8/layout/pyramid1"/>
    <dgm:cxn modelId="{833C9149-C7A9-403D-9C4E-FE8966954C2D}" type="presOf" srcId="{B9C9AE44-4A5B-4872-8C59-633C1F673A3F}" destId="{DA630F2B-5C7B-4D99-AB37-5D451CA324DA}" srcOrd="1" destOrd="0" presId="urn:microsoft.com/office/officeart/2005/8/layout/pyramid1"/>
    <dgm:cxn modelId="{26CF3D4D-9F8D-460D-B6CB-CB4750A2D529}" type="presOf" srcId="{38955ED1-060E-4E12-A5A3-F4A4A3CC1133}" destId="{0783C52B-BF82-4F0D-B628-6A59D8CB4781}" srcOrd="1" destOrd="0" presId="urn:microsoft.com/office/officeart/2005/8/layout/pyramid1"/>
    <dgm:cxn modelId="{DB1F5A70-AFF8-44CB-A7BF-B6294AC5309B}" srcId="{F05F2FF1-6CAD-44AF-8CD1-63836A3CCCEC}" destId="{E2FEDE78-A811-4EB7-B6EB-858F43D3D89B}" srcOrd="0" destOrd="0" parTransId="{24D8411F-0DE3-4BC2-BE81-38C298BF6D9E}" sibTransId="{BC5FB75D-0B35-4B10-ABBD-7C556FEFD972}"/>
    <dgm:cxn modelId="{6F1A2551-4EE5-4C39-8FCB-56CCB02102AF}" srcId="{F05F2FF1-6CAD-44AF-8CD1-63836A3CCCEC}" destId="{38955ED1-060E-4E12-A5A3-F4A4A3CC1133}" srcOrd="4" destOrd="0" parTransId="{C80190BE-0168-496F-92E6-68B568A5D15E}" sibTransId="{CEE52AE5-384A-4BA6-B9C3-C743A3008481}"/>
    <dgm:cxn modelId="{EB72107A-F5BA-4DF2-9A1A-A6FBBE375DC6}" type="presOf" srcId="{E2FEDE78-A811-4EB7-B6EB-858F43D3D89B}" destId="{1643AEC1-8166-4E7A-BA42-309597A5BD6F}" srcOrd="1" destOrd="0" presId="urn:microsoft.com/office/officeart/2005/8/layout/pyramid1"/>
    <dgm:cxn modelId="{28FFCEA0-001E-4BE5-BAD3-5DEE57445A8F}" type="presOf" srcId="{33F0EA65-858B-473C-A636-29CDB48D73EE}" destId="{B5916C0C-FDD2-4DE0-8EE8-23A38A2AF6CC}" srcOrd="0" destOrd="0" presId="urn:microsoft.com/office/officeart/2005/8/layout/pyramid1"/>
    <dgm:cxn modelId="{179FE2BA-E3EF-48F3-B91E-38F393F52A7A}" type="presOf" srcId="{F05F2FF1-6CAD-44AF-8CD1-63836A3CCCEC}" destId="{692761B8-7AA9-40BD-9978-2589D28F99CC}" srcOrd="0" destOrd="0" presId="urn:microsoft.com/office/officeart/2005/8/layout/pyramid1"/>
    <dgm:cxn modelId="{3D3766CE-2587-4A18-A128-62AE392AC682}" type="presOf" srcId="{33F0EA65-858B-473C-A636-29CDB48D73EE}" destId="{260690BE-6520-4D02-A750-116F543E0155}" srcOrd="1" destOrd="0" presId="urn:microsoft.com/office/officeart/2005/8/layout/pyramid1"/>
    <dgm:cxn modelId="{078F70EA-21AC-4CDA-B10B-C29531983DA5}" type="presOf" srcId="{65CF05CC-5986-4222-8675-AAE41D971B2A}" destId="{065408BB-C41D-4916-BE3C-AE29C4836A8F}" srcOrd="0" destOrd="0" presId="urn:microsoft.com/office/officeart/2005/8/layout/pyramid1"/>
    <dgm:cxn modelId="{8BCAC330-797E-4F65-B89C-DDCD0218B3DC}" type="presParOf" srcId="{692761B8-7AA9-40BD-9978-2589D28F99CC}" destId="{BDFDF869-5DB1-4F09-AA83-F5F2BB1585A6}" srcOrd="0" destOrd="0" presId="urn:microsoft.com/office/officeart/2005/8/layout/pyramid1"/>
    <dgm:cxn modelId="{12E827D0-59EE-414F-8844-EA9B1C024F2D}" type="presParOf" srcId="{BDFDF869-5DB1-4F09-AA83-F5F2BB1585A6}" destId="{E22B4B72-C164-4B69-9899-CA7796BEFB96}" srcOrd="0" destOrd="0" presId="urn:microsoft.com/office/officeart/2005/8/layout/pyramid1"/>
    <dgm:cxn modelId="{9BF7F17C-F2EC-494D-A3EB-F980473FFDA1}" type="presParOf" srcId="{BDFDF869-5DB1-4F09-AA83-F5F2BB1585A6}" destId="{1643AEC1-8166-4E7A-BA42-309597A5BD6F}" srcOrd="1" destOrd="0" presId="urn:microsoft.com/office/officeart/2005/8/layout/pyramid1"/>
    <dgm:cxn modelId="{5D8E6A55-B6BC-48A7-8A1C-FCA241F7C030}" type="presParOf" srcId="{692761B8-7AA9-40BD-9978-2589D28F99CC}" destId="{0A361DB6-EFC5-4646-A968-9A4A879E8720}" srcOrd="1" destOrd="0" presId="urn:microsoft.com/office/officeart/2005/8/layout/pyramid1"/>
    <dgm:cxn modelId="{80A24DD2-1153-48D3-BF7E-D884EACFABF2}" type="presParOf" srcId="{0A361DB6-EFC5-4646-A968-9A4A879E8720}" destId="{065408BB-C41D-4916-BE3C-AE29C4836A8F}" srcOrd="0" destOrd="0" presId="urn:microsoft.com/office/officeart/2005/8/layout/pyramid1"/>
    <dgm:cxn modelId="{D8AB0F4F-A21B-4AC1-8EAE-D8E100F5968D}" type="presParOf" srcId="{0A361DB6-EFC5-4646-A968-9A4A879E8720}" destId="{3223C9A4-D7CC-4D18-86AB-7B64A545855F}" srcOrd="1" destOrd="0" presId="urn:microsoft.com/office/officeart/2005/8/layout/pyramid1"/>
    <dgm:cxn modelId="{5691AF5E-7403-45EA-8FF3-C1EA4FDE57BD}" type="presParOf" srcId="{692761B8-7AA9-40BD-9978-2589D28F99CC}" destId="{3C920133-6FC4-4DE4-9461-D1A8A389B876}" srcOrd="2" destOrd="0" presId="urn:microsoft.com/office/officeart/2005/8/layout/pyramid1"/>
    <dgm:cxn modelId="{F232AED1-4A9E-4B1D-ABF3-5511FE28A317}" type="presParOf" srcId="{3C920133-6FC4-4DE4-9461-D1A8A389B876}" destId="{4918DCC6-0FEA-4B36-AC17-67373041501C}" srcOrd="0" destOrd="0" presId="urn:microsoft.com/office/officeart/2005/8/layout/pyramid1"/>
    <dgm:cxn modelId="{46838AF3-EEA3-4BEF-9595-7400DAB14C8C}" type="presParOf" srcId="{3C920133-6FC4-4DE4-9461-D1A8A389B876}" destId="{DA630F2B-5C7B-4D99-AB37-5D451CA324DA}" srcOrd="1" destOrd="0" presId="urn:microsoft.com/office/officeart/2005/8/layout/pyramid1"/>
    <dgm:cxn modelId="{7A6AF905-19C3-4A48-B938-DA3DAB963076}" type="presParOf" srcId="{692761B8-7AA9-40BD-9978-2589D28F99CC}" destId="{16FE5712-DBCA-44AF-9D40-22F2E5E877AD}" srcOrd="3" destOrd="0" presId="urn:microsoft.com/office/officeart/2005/8/layout/pyramid1"/>
    <dgm:cxn modelId="{6CAACCA1-D335-47A1-8ED0-C83D4AD8A5E8}" type="presParOf" srcId="{16FE5712-DBCA-44AF-9D40-22F2E5E877AD}" destId="{B5916C0C-FDD2-4DE0-8EE8-23A38A2AF6CC}" srcOrd="0" destOrd="0" presId="urn:microsoft.com/office/officeart/2005/8/layout/pyramid1"/>
    <dgm:cxn modelId="{5D832CBE-5939-4E62-9C51-504C5395E6F2}" type="presParOf" srcId="{16FE5712-DBCA-44AF-9D40-22F2E5E877AD}" destId="{260690BE-6520-4D02-A750-116F543E0155}" srcOrd="1" destOrd="0" presId="urn:microsoft.com/office/officeart/2005/8/layout/pyramid1"/>
    <dgm:cxn modelId="{EEF05652-EA52-4A23-87F2-89FC8B127EA8}" type="presParOf" srcId="{692761B8-7AA9-40BD-9978-2589D28F99CC}" destId="{766AD5AC-B724-41C6-A666-FA6D8D6333EC}" srcOrd="4" destOrd="0" presId="urn:microsoft.com/office/officeart/2005/8/layout/pyramid1"/>
    <dgm:cxn modelId="{1E2B7E8D-1B34-411A-8040-DBD7875478B8}" type="presParOf" srcId="{766AD5AC-B724-41C6-A666-FA6D8D6333EC}" destId="{4D8D53ED-E555-4E84-A768-6E98326AB2AA}" srcOrd="0" destOrd="0" presId="urn:microsoft.com/office/officeart/2005/8/layout/pyramid1"/>
    <dgm:cxn modelId="{8ECFA14B-5702-49F8-B68C-CE411AE8E6FC}" type="presParOf" srcId="{766AD5AC-B724-41C6-A666-FA6D8D6333EC}" destId="{0783C52B-BF82-4F0D-B628-6A59D8CB4781}"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8177FE2-E87C-410F-9424-EDA9101B6916}" type="doc">
      <dgm:prSet loTypeId="urn:microsoft.com/office/officeart/2008/layout/BendingPictureCaption" loCatId="picture" qsTypeId="urn:microsoft.com/office/officeart/2005/8/quickstyle/simple1" qsCatId="simple" csTypeId="urn:microsoft.com/office/officeart/2005/8/colors/accent1_2" csCatId="accent1" phldr="1"/>
      <dgm:spPr/>
      <dgm:t>
        <a:bodyPr/>
        <a:lstStyle/>
        <a:p>
          <a:endParaRPr lang="en-IN"/>
        </a:p>
      </dgm:t>
    </dgm:pt>
    <dgm:pt modelId="{92D71F7B-9E53-4694-9DBF-63472F15221F}">
      <dgm:prSet phldrT="[Text]"/>
      <dgm:spPr/>
      <dgm:t>
        <a:bodyPr/>
        <a:lstStyle/>
        <a:p>
          <a:r>
            <a:rPr lang="en-US" dirty="0"/>
            <a:t>Wet analysis </a:t>
          </a:r>
          <a:endParaRPr lang="en-IN" dirty="0"/>
        </a:p>
      </dgm:t>
    </dgm:pt>
    <dgm:pt modelId="{7FC949D0-0BB7-40A0-A650-33BBEB00D22A}" type="parTrans" cxnId="{D6EC6E1E-9B17-46A8-B048-EDB62E25D188}">
      <dgm:prSet/>
      <dgm:spPr/>
      <dgm:t>
        <a:bodyPr/>
        <a:lstStyle/>
        <a:p>
          <a:endParaRPr lang="en-IN"/>
        </a:p>
      </dgm:t>
    </dgm:pt>
    <dgm:pt modelId="{0D464863-EC01-41BF-838E-0DCBDE4DAC5D}" type="sibTrans" cxnId="{D6EC6E1E-9B17-46A8-B048-EDB62E25D188}">
      <dgm:prSet/>
      <dgm:spPr/>
      <dgm:t>
        <a:bodyPr/>
        <a:lstStyle/>
        <a:p>
          <a:endParaRPr lang="en-IN"/>
        </a:p>
      </dgm:t>
    </dgm:pt>
    <dgm:pt modelId="{291047B0-0C88-4FA2-95CD-59EB040103EC}">
      <dgm:prSet phldrT="[Text]"/>
      <dgm:spPr/>
      <dgm:t>
        <a:bodyPr/>
        <a:lstStyle/>
        <a:p>
          <a:r>
            <a:rPr lang="en-US" dirty="0"/>
            <a:t>UV Spectrometer -1</a:t>
          </a:r>
          <a:endParaRPr lang="en-IN" dirty="0"/>
        </a:p>
      </dgm:t>
    </dgm:pt>
    <dgm:pt modelId="{39ED18C5-BE98-4E8D-A15B-74C7C9AE2B11}" type="parTrans" cxnId="{42DF16E5-F831-4FF8-AB1A-61F88558BBFE}">
      <dgm:prSet/>
      <dgm:spPr/>
      <dgm:t>
        <a:bodyPr/>
        <a:lstStyle/>
        <a:p>
          <a:endParaRPr lang="en-IN"/>
        </a:p>
      </dgm:t>
    </dgm:pt>
    <dgm:pt modelId="{CC13EDA1-4A43-41DF-BC28-CE310587C58C}" type="sibTrans" cxnId="{42DF16E5-F831-4FF8-AB1A-61F88558BBFE}">
      <dgm:prSet/>
      <dgm:spPr/>
      <dgm:t>
        <a:bodyPr/>
        <a:lstStyle/>
        <a:p>
          <a:endParaRPr lang="en-IN"/>
        </a:p>
      </dgm:t>
    </dgm:pt>
    <dgm:pt modelId="{66F290F2-756A-4DE1-83CB-B489E4B0F322}">
      <dgm:prSet phldrT="[Text]" custT="1"/>
      <dgm:spPr/>
      <dgm:t>
        <a:bodyPr/>
        <a:lstStyle/>
        <a:p>
          <a:r>
            <a:rPr lang="en-US" sz="900" dirty="0"/>
            <a:t>HPLC </a:t>
          </a:r>
          <a:r>
            <a:rPr lang="en-IN" sz="1100" dirty="0"/>
            <a:t> - 2</a:t>
          </a:r>
        </a:p>
      </dgm:t>
    </dgm:pt>
    <dgm:pt modelId="{0FC12659-C81A-4D97-8079-778DCEB8B479}" type="parTrans" cxnId="{F878F8AE-B75B-45C2-95FE-A364B929D5C5}">
      <dgm:prSet/>
      <dgm:spPr/>
      <dgm:t>
        <a:bodyPr/>
        <a:lstStyle/>
        <a:p>
          <a:endParaRPr lang="en-IN"/>
        </a:p>
      </dgm:t>
    </dgm:pt>
    <dgm:pt modelId="{D4A7494D-5D34-454A-AEC8-A10787B373F1}" type="sibTrans" cxnId="{F878F8AE-B75B-45C2-95FE-A364B929D5C5}">
      <dgm:prSet/>
      <dgm:spPr/>
      <dgm:t>
        <a:bodyPr/>
        <a:lstStyle/>
        <a:p>
          <a:endParaRPr lang="en-IN"/>
        </a:p>
      </dgm:t>
    </dgm:pt>
    <dgm:pt modelId="{67C889A3-BDA0-4AE3-B79F-9CB47D9C73F0}">
      <dgm:prSet/>
      <dgm:spPr/>
      <dgm:t>
        <a:bodyPr/>
        <a:lstStyle/>
        <a:p>
          <a:r>
            <a:rPr lang="en-IN" dirty="0"/>
            <a:t>Micro analysis</a:t>
          </a:r>
        </a:p>
      </dgm:t>
    </dgm:pt>
    <dgm:pt modelId="{266B9DC1-3D8C-4E48-87DD-B75A05EB5137}" type="parTrans" cxnId="{8EBB0D8C-4383-4777-B4EA-90BBE6ACB5C6}">
      <dgm:prSet/>
      <dgm:spPr/>
      <dgm:t>
        <a:bodyPr/>
        <a:lstStyle/>
        <a:p>
          <a:endParaRPr lang="en-IN"/>
        </a:p>
      </dgm:t>
    </dgm:pt>
    <dgm:pt modelId="{CEDEA25E-A62F-428E-967C-AF8AC1CEE1E4}" type="sibTrans" cxnId="{8EBB0D8C-4383-4777-B4EA-90BBE6ACB5C6}">
      <dgm:prSet/>
      <dgm:spPr/>
      <dgm:t>
        <a:bodyPr/>
        <a:lstStyle/>
        <a:p>
          <a:endParaRPr lang="en-IN"/>
        </a:p>
      </dgm:t>
    </dgm:pt>
    <dgm:pt modelId="{4961155B-3DEE-4E57-81DE-48B4BB40CB79}">
      <dgm:prSet custT="1"/>
      <dgm:spPr/>
      <dgm:t>
        <a:bodyPr/>
        <a:lstStyle/>
        <a:p>
          <a:r>
            <a:rPr lang="en-US" sz="800" dirty="0"/>
            <a:t>BOD Incubator 600L*2 400L*1</a:t>
          </a:r>
          <a:endParaRPr lang="en-IN" sz="800" dirty="0"/>
        </a:p>
      </dgm:t>
    </dgm:pt>
    <dgm:pt modelId="{48C86BA5-2B03-46E0-8641-0FAE4DD3318F}" type="parTrans" cxnId="{BDAC3B6E-7D50-4AB1-9BEC-3707A26A1CF0}">
      <dgm:prSet/>
      <dgm:spPr/>
      <dgm:t>
        <a:bodyPr/>
        <a:lstStyle/>
        <a:p>
          <a:endParaRPr lang="en-IN"/>
        </a:p>
      </dgm:t>
    </dgm:pt>
    <dgm:pt modelId="{C7C3481E-2ED7-4489-AA02-C898CCEF09F4}" type="sibTrans" cxnId="{BDAC3B6E-7D50-4AB1-9BEC-3707A26A1CF0}">
      <dgm:prSet/>
      <dgm:spPr/>
      <dgm:t>
        <a:bodyPr/>
        <a:lstStyle/>
        <a:p>
          <a:endParaRPr lang="en-IN"/>
        </a:p>
      </dgm:t>
    </dgm:pt>
    <dgm:pt modelId="{AFD70BE8-17BE-4D51-AE37-B5890E7DF651}">
      <dgm:prSet phldrT="[Text]"/>
      <dgm:spPr/>
      <dgm:t>
        <a:bodyPr/>
        <a:lstStyle/>
        <a:p>
          <a:r>
            <a:rPr lang="en-US" dirty="0"/>
            <a:t>KF Titrator - 1 </a:t>
          </a:r>
          <a:endParaRPr lang="en-IN" dirty="0"/>
        </a:p>
      </dgm:t>
    </dgm:pt>
    <dgm:pt modelId="{FFAE2FFC-CE8D-4BD7-90EB-62513F943ECB}" type="parTrans" cxnId="{49C2735D-BC40-41FE-811A-41255655F37A}">
      <dgm:prSet/>
      <dgm:spPr/>
      <dgm:t>
        <a:bodyPr/>
        <a:lstStyle/>
        <a:p>
          <a:endParaRPr lang="en-IN"/>
        </a:p>
      </dgm:t>
    </dgm:pt>
    <dgm:pt modelId="{D7434D0A-97E0-41AA-A2E1-8BFD043ED367}" type="sibTrans" cxnId="{49C2735D-BC40-41FE-811A-41255655F37A}">
      <dgm:prSet/>
      <dgm:spPr/>
      <dgm:t>
        <a:bodyPr/>
        <a:lstStyle/>
        <a:p>
          <a:endParaRPr lang="en-IN"/>
        </a:p>
      </dgm:t>
    </dgm:pt>
    <dgm:pt modelId="{79AA76F0-29BC-4BC4-B0D2-E372F9C97966}">
      <dgm:prSet/>
      <dgm:spPr/>
      <dgm:t>
        <a:bodyPr/>
        <a:lstStyle/>
        <a:p>
          <a:r>
            <a:rPr lang="en-US" dirty="0"/>
            <a:t>Autoclave – 175L </a:t>
          </a:r>
          <a:endParaRPr lang="en-IN" dirty="0"/>
        </a:p>
      </dgm:t>
    </dgm:pt>
    <dgm:pt modelId="{A1780977-04FF-482F-AB17-BF8B7C6FB8A9}" type="parTrans" cxnId="{4676AC54-D737-4DC4-AEC8-49D80EE1EE03}">
      <dgm:prSet/>
      <dgm:spPr/>
      <dgm:t>
        <a:bodyPr/>
        <a:lstStyle/>
        <a:p>
          <a:endParaRPr lang="en-IN"/>
        </a:p>
      </dgm:t>
    </dgm:pt>
    <dgm:pt modelId="{9C9A4B53-A58F-4D56-AD54-F0FF3273F898}" type="sibTrans" cxnId="{4676AC54-D737-4DC4-AEC8-49D80EE1EE03}">
      <dgm:prSet/>
      <dgm:spPr/>
      <dgm:t>
        <a:bodyPr/>
        <a:lstStyle/>
        <a:p>
          <a:endParaRPr lang="en-IN"/>
        </a:p>
      </dgm:t>
    </dgm:pt>
    <dgm:pt modelId="{DDA76D78-F039-4DF0-8E04-95DB8EC88D95}">
      <dgm:prSet custT="1"/>
      <dgm:spPr/>
      <dgm:t>
        <a:bodyPr/>
        <a:lstStyle/>
        <a:p>
          <a:r>
            <a:rPr lang="en-US" sz="1000" dirty="0"/>
            <a:t>Stability chambers 3Nos 400L*2 800*1</a:t>
          </a:r>
          <a:endParaRPr lang="en-IN" sz="1000" dirty="0"/>
        </a:p>
      </dgm:t>
    </dgm:pt>
    <dgm:pt modelId="{BAE0A815-3116-44EA-9EDA-54605CC8CC79}" type="parTrans" cxnId="{EDF0658E-A99C-4CBE-A24C-8398176DF705}">
      <dgm:prSet/>
      <dgm:spPr/>
      <dgm:t>
        <a:bodyPr/>
        <a:lstStyle/>
        <a:p>
          <a:endParaRPr lang="en-IN"/>
        </a:p>
      </dgm:t>
    </dgm:pt>
    <dgm:pt modelId="{38200A0D-9A3B-4E5F-BD7A-379F8ECA660C}" type="sibTrans" cxnId="{EDF0658E-A99C-4CBE-A24C-8398176DF705}">
      <dgm:prSet/>
      <dgm:spPr/>
      <dgm:t>
        <a:bodyPr/>
        <a:lstStyle/>
        <a:p>
          <a:endParaRPr lang="en-IN"/>
        </a:p>
      </dgm:t>
    </dgm:pt>
    <dgm:pt modelId="{0AC372CD-AEF9-43A2-AFE7-3ACD84C3A10D}">
      <dgm:prSet phldrT="[Text]"/>
      <dgm:spPr/>
      <dgm:t>
        <a:bodyPr/>
        <a:lstStyle/>
        <a:p>
          <a:r>
            <a:rPr lang="en-US" dirty="0"/>
            <a:t>IR - 1</a:t>
          </a:r>
          <a:endParaRPr lang="en-IN" dirty="0"/>
        </a:p>
      </dgm:t>
    </dgm:pt>
    <dgm:pt modelId="{CC121321-B71E-4C3B-BA69-F0647D0F33B0}" type="parTrans" cxnId="{727CFE1F-8FE9-4C90-B557-51FF79ADD64B}">
      <dgm:prSet/>
      <dgm:spPr/>
      <dgm:t>
        <a:bodyPr/>
        <a:lstStyle/>
        <a:p>
          <a:endParaRPr lang="en-IN"/>
        </a:p>
      </dgm:t>
    </dgm:pt>
    <dgm:pt modelId="{08FE750C-E358-4F91-BBF0-1ABA09279175}" type="sibTrans" cxnId="{727CFE1F-8FE9-4C90-B557-51FF79ADD64B}">
      <dgm:prSet/>
      <dgm:spPr/>
      <dgm:t>
        <a:bodyPr/>
        <a:lstStyle/>
        <a:p>
          <a:endParaRPr lang="en-IN"/>
        </a:p>
      </dgm:t>
    </dgm:pt>
    <dgm:pt modelId="{2721616C-80F0-4E4B-8C1B-E521B19CC6B8}">
      <dgm:prSet phldrT="[Text]" custT="1"/>
      <dgm:spPr/>
      <dgm:t>
        <a:bodyPr/>
        <a:lstStyle/>
        <a:p>
          <a:r>
            <a:rPr lang="en-US" sz="900" dirty="0"/>
            <a:t>GC (Gas Chromatography) 1</a:t>
          </a:r>
          <a:endParaRPr lang="en-IN" sz="900" dirty="0"/>
        </a:p>
      </dgm:t>
    </dgm:pt>
    <dgm:pt modelId="{C2378EBE-3E03-4EE4-90B3-678988EBD803}" type="parTrans" cxnId="{C71762C6-66DB-42E8-B322-66B9508006F6}">
      <dgm:prSet/>
      <dgm:spPr/>
      <dgm:t>
        <a:bodyPr/>
        <a:lstStyle/>
        <a:p>
          <a:endParaRPr lang="en-IN"/>
        </a:p>
      </dgm:t>
    </dgm:pt>
    <dgm:pt modelId="{50E79AB7-A03E-4AFD-B785-28458A8FAE22}" type="sibTrans" cxnId="{C71762C6-66DB-42E8-B322-66B9508006F6}">
      <dgm:prSet/>
      <dgm:spPr/>
      <dgm:t>
        <a:bodyPr/>
        <a:lstStyle/>
        <a:p>
          <a:endParaRPr lang="en-IN"/>
        </a:p>
      </dgm:t>
    </dgm:pt>
    <dgm:pt modelId="{0F9649FA-0F2B-4D49-9A9D-9E0D6F657BB4}" type="pres">
      <dgm:prSet presAssocID="{68177FE2-E87C-410F-9424-EDA9101B6916}" presName="diagram" presStyleCnt="0">
        <dgm:presLayoutVars>
          <dgm:dir/>
        </dgm:presLayoutVars>
      </dgm:prSet>
      <dgm:spPr/>
    </dgm:pt>
    <dgm:pt modelId="{C50195BC-7B1A-4F7A-A28D-D80583E70120}" type="pres">
      <dgm:prSet presAssocID="{92D71F7B-9E53-4694-9DBF-63472F15221F}" presName="composite" presStyleCnt="0"/>
      <dgm:spPr/>
    </dgm:pt>
    <dgm:pt modelId="{34011CCB-48AF-4C05-AC4B-D18E6A3FCFBC}" type="pres">
      <dgm:prSet presAssocID="{92D71F7B-9E53-4694-9DBF-63472F15221F}" presName="Image" presStyleLbl="bgShp" presStyleIdx="0" presStyleCnt="10" custScaleX="85474" custLinFactNeighborX="-5018" custLinFactNeighborY="-16134"/>
      <dgm:spPr>
        <a:blipFill rotWithShape="1">
          <a:blip xmlns:r="http://schemas.openxmlformats.org/officeDocument/2006/relationships" r:embed="rId1"/>
          <a:srcRect/>
          <a:stretch>
            <a:fillRect t="-57000" b="-57000"/>
          </a:stretch>
        </a:blipFill>
      </dgm:spPr>
    </dgm:pt>
    <dgm:pt modelId="{A11D78F1-28E9-4629-BDAA-3F3A1864D479}" type="pres">
      <dgm:prSet presAssocID="{92D71F7B-9E53-4694-9DBF-63472F15221F}" presName="Parent" presStyleLbl="node0" presStyleIdx="0" presStyleCnt="10" custLinFactNeighborX="-24388" custLinFactNeighborY="31936">
        <dgm:presLayoutVars>
          <dgm:bulletEnabled val="1"/>
        </dgm:presLayoutVars>
      </dgm:prSet>
      <dgm:spPr/>
    </dgm:pt>
    <dgm:pt modelId="{28806D05-21DC-4727-9E7C-5900D37B5A29}" type="pres">
      <dgm:prSet presAssocID="{0D464863-EC01-41BF-838E-0DCBDE4DAC5D}" presName="sibTrans" presStyleCnt="0"/>
      <dgm:spPr/>
    </dgm:pt>
    <dgm:pt modelId="{982A919E-9E65-4BB0-9D92-66177CA761B5}" type="pres">
      <dgm:prSet presAssocID="{291047B0-0C88-4FA2-95CD-59EB040103EC}" presName="composite" presStyleCnt="0"/>
      <dgm:spPr/>
    </dgm:pt>
    <dgm:pt modelId="{AAA5CADE-2684-4576-B7A3-75C016186848}" type="pres">
      <dgm:prSet presAssocID="{291047B0-0C88-4FA2-95CD-59EB040103EC}" presName="Image" presStyleLbl="bgShp" presStyleIdx="1" presStyleCnt="10" custLinFactNeighborX="-4959" custLinFactNeighborY="-1031"/>
      <dgm:spPr>
        <a:blipFill rotWithShape="1">
          <a:blip xmlns:r="http://schemas.openxmlformats.org/officeDocument/2006/relationships" r:embed="rId2"/>
          <a:srcRect/>
          <a:stretch>
            <a:fillRect l="-8000" r="-8000"/>
          </a:stretch>
        </a:blipFill>
      </dgm:spPr>
    </dgm:pt>
    <dgm:pt modelId="{88F2BC87-E93A-4AEA-8B2C-3E3E6D063614}" type="pres">
      <dgm:prSet presAssocID="{291047B0-0C88-4FA2-95CD-59EB040103EC}" presName="Parent" presStyleLbl="node0" presStyleIdx="1" presStyleCnt="10" custLinFactNeighborX="-21419" custLinFactNeighborY="44906">
        <dgm:presLayoutVars>
          <dgm:bulletEnabled val="1"/>
        </dgm:presLayoutVars>
      </dgm:prSet>
      <dgm:spPr/>
    </dgm:pt>
    <dgm:pt modelId="{2AAF8045-401B-4061-83F5-9472A933294E}" type="pres">
      <dgm:prSet presAssocID="{CC13EDA1-4A43-41DF-BC28-CE310587C58C}" presName="sibTrans" presStyleCnt="0"/>
      <dgm:spPr/>
    </dgm:pt>
    <dgm:pt modelId="{E382DA15-E29A-45B8-B237-A6480853BE76}" type="pres">
      <dgm:prSet presAssocID="{0AC372CD-AEF9-43A2-AFE7-3ACD84C3A10D}" presName="composite" presStyleCnt="0"/>
      <dgm:spPr/>
    </dgm:pt>
    <dgm:pt modelId="{62DBE511-E997-4ED5-97A9-2C4C70AD8BF9}" type="pres">
      <dgm:prSet presAssocID="{0AC372CD-AEF9-43A2-AFE7-3ACD84C3A10D}" presName="Image" presStyleLbl="bgShp" presStyleIdx="2" presStyleCnt="10"/>
      <dgm:spPr>
        <a:blipFill rotWithShape="1">
          <a:blip xmlns:r="http://schemas.openxmlformats.org/officeDocument/2006/relationships" r:embed="rId3"/>
          <a:srcRect/>
          <a:stretch>
            <a:fillRect l="-6000" r="-6000"/>
          </a:stretch>
        </a:blipFill>
      </dgm:spPr>
    </dgm:pt>
    <dgm:pt modelId="{AAF0E751-EB18-40CC-A04B-C4DD54052402}" type="pres">
      <dgm:prSet presAssocID="{0AC372CD-AEF9-43A2-AFE7-3ACD84C3A10D}" presName="Parent" presStyleLbl="node0" presStyleIdx="2" presStyleCnt="10" custLinFactNeighborX="-14121" custLinFactNeighborY="44906">
        <dgm:presLayoutVars>
          <dgm:bulletEnabled val="1"/>
        </dgm:presLayoutVars>
      </dgm:prSet>
      <dgm:spPr/>
    </dgm:pt>
    <dgm:pt modelId="{42E2B376-BCB8-47C0-B8F6-1748A51B6D7C}" type="pres">
      <dgm:prSet presAssocID="{08FE750C-E358-4F91-BBF0-1ABA09279175}" presName="sibTrans" presStyleCnt="0"/>
      <dgm:spPr/>
    </dgm:pt>
    <dgm:pt modelId="{E7A7B094-7EA0-4936-BE7E-70381AD25A35}" type="pres">
      <dgm:prSet presAssocID="{AFD70BE8-17BE-4D51-AE37-B5890E7DF651}" presName="composite" presStyleCnt="0"/>
      <dgm:spPr/>
    </dgm:pt>
    <dgm:pt modelId="{6E62CEB0-6884-4B16-A140-A8028FC83ABE}" type="pres">
      <dgm:prSet presAssocID="{AFD70BE8-17BE-4D51-AE37-B5890E7DF651}" presName="Image" presStyleLbl="bgShp" presStyleIdx="3" presStyleCnt="10"/>
      <dgm:spPr>
        <a:blipFill rotWithShape="1">
          <a:blip xmlns:r="http://schemas.openxmlformats.org/officeDocument/2006/relationships" r:embed="rId4"/>
          <a:srcRect/>
          <a:stretch>
            <a:fillRect t="-15000" b="-15000"/>
          </a:stretch>
        </a:blipFill>
      </dgm:spPr>
    </dgm:pt>
    <dgm:pt modelId="{719CDEE6-6AA4-47C4-930B-8A2D0F15D42D}" type="pres">
      <dgm:prSet presAssocID="{AFD70BE8-17BE-4D51-AE37-B5890E7DF651}" presName="Parent" presStyleLbl="node0" presStyleIdx="3" presStyleCnt="10" custLinFactNeighborX="-7571" custLinFactNeighborY="44014">
        <dgm:presLayoutVars>
          <dgm:bulletEnabled val="1"/>
        </dgm:presLayoutVars>
      </dgm:prSet>
      <dgm:spPr/>
    </dgm:pt>
    <dgm:pt modelId="{88D21A13-D036-4692-B4F8-73551835D776}" type="pres">
      <dgm:prSet presAssocID="{D7434D0A-97E0-41AA-A2E1-8BFD043ED367}" presName="sibTrans" presStyleCnt="0"/>
      <dgm:spPr/>
    </dgm:pt>
    <dgm:pt modelId="{3AB296E2-85F5-4876-B17E-CC5B7CACE056}" type="pres">
      <dgm:prSet presAssocID="{66F290F2-756A-4DE1-83CB-B489E4B0F322}" presName="composite" presStyleCnt="0"/>
      <dgm:spPr/>
    </dgm:pt>
    <dgm:pt modelId="{5C77BA56-90FD-473D-8F89-2E950CFC3619}" type="pres">
      <dgm:prSet presAssocID="{66F290F2-756A-4DE1-83CB-B489E4B0F322}" presName="Image" presStyleLbl="bgShp" presStyleIdx="4" presStyleCnt="10" custAng="0" custScaleX="90912" custLinFactNeighborX="66552" custLinFactNeighborY="1072"/>
      <dgm:spPr>
        <a:blipFill rotWithShape="1">
          <a:blip xmlns:r="http://schemas.openxmlformats.org/officeDocument/2006/relationships" r:embed="rId5"/>
          <a:srcRect/>
          <a:stretch>
            <a:fillRect t="-11000" b="-11000"/>
          </a:stretch>
        </a:blipFill>
      </dgm:spPr>
    </dgm:pt>
    <dgm:pt modelId="{C2A3D334-942B-4D0A-8AA9-12C876583441}" type="pres">
      <dgm:prSet presAssocID="{66F290F2-756A-4DE1-83CB-B489E4B0F322}" presName="Parent" presStyleLbl="node0" presStyleIdx="4" presStyleCnt="10" custScaleX="90944" custScaleY="107067" custLinFactNeighborX="61498" custLinFactNeighborY="41972">
        <dgm:presLayoutVars>
          <dgm:bulletEnabled val="1"/>
        </dgm:presLayoutVars>
      </dgm:prSet>
      <dgm:spPr/>
    </dgm:pt>
    <dgm:pt modelId="{9E95B59F-66FF-4C0B-984B-19F092CD5D7D}" type="pres">
      <dgm:prSet presAssocID="{D4A7494D-5D34-454A-AEC8-A10787B373F1}" presName="sibTrans" presStyleCnt="0"/>
      <dgm:spPr/>
    </dgm:pt>
    <dgm:pt modelId="{C0900B41-9387-4C43-A484-A9B2F04042C5}" type="pres">
      <dgm:prSet presAssocID="{2721616C-80F0-4E4B-8C1B-E521B19CC6B8}" presName="composite" presStyleCnt="0"/>
      <dgm:spPr/>
    </dgm:pt>
    <dgm:pt modelId="{7BF8577C-C21A-4B23-AB81-8D615C1ECD84}" type="pres">
      <dgm:prSet presAssocID="{2721616C-80F0-4E4B-8C1B-E521B19CC6B8}" presName="Image" presStyleLbl="bgShp" presStyleIdx="5" presStyleCnt="10" custLinFactNeighborX="81278" custLinFactNeighborY="577"/>
      <dgm:spPr>
        <a:blipFill rotWithShape="1">
          <a:blip xmlns:r="http://schemas.openxmlformats.org/officeDocument/2006/relationships" r:embed="rId6"/>
          <a:srcRect/>
          <a:stretch>
            <a:fillRect l="-16000" r="-16000"/>
          </a:stretch>
        </a:blipFill>
      </dgm:spPr>
    </dgm:pt>
    <dgm:pt modelId="{038A7C02-72B4-4C16-82A3-935AA62AC791}" type="pres">
      <dgm:prSet presAssocID="{2721616C-80F0-4E4B-8C1B-E521B19CC6B8}" presName="Parent" presStyleLbl="node0" presStyleIdx="5" presStyleCnt="10" custScaleX="111634" custLinFactNeighborX="78349" custLinFactNeighborY="36672">
        <dgm:presLayoutVars>
          <dgm:bulletEnabled val="1"/>
        </dgm:presLayoutVars>
      </dgm:prSet>
      <dgm:spPr/>
    </dgm:pt>
    <dgm:pt modelId="{186AC130-05F2-46BC-944A-C68DE8D9F38D}" type="pres">
      <dgm:prSet presAssocID="{50E79AB7-A03E-4AFD-B785-28458A8FAE22}" presName="sibTrans" presStyleCnt="0"/>
      <dgm:spPr/>
    </dgm:pt>
    <dgm:pt modelId="{6541AD88-8798-4914-8020-2D145D21BD27}" type="pres">
      <dgm:prSet presAssocID="{67C889A3-BDA0-4AE3-B79F-9CB47D9C73F0}" presName="composite" presStyleCnt="0"/>
      <dgm:spPr/>
    </dgm:pt>
    <dgm:pt modelId="{B6F1431D-70F5-4B70-B4FC-402DA8969F1D}" type="pres">
      <dgm:prSet presAssocID="{67C889A3-BDA0-4AE3-B79F-9CB47D9C73F0}" presName="Image" presStyleLbl="bgShp" presStyleIdx="6" presStyleCnt="10" custLinFactX="-100000" custLinFactY="34360" custLinFactNeighborX="-144767" custLinFactNeighborY="100000"/>
      <dgm:spPr>
        <a:blipFill rotWithShape="1">
          <a:blip xmlns:r="http://schemas.openxmlformats.org/officeDocument/2006/relationships" r:embed="rId7"/>
          <a:srcRect/>
          <a:stretch>
            <a:fillRect t="-42000" b="-42000"/>
          </a:stretch>
        </a:blipFill>
      </dgm:spPr>
    </dgm:pt>
    <dgm:pt modelId="{AE1F0795-863F-40A7-B86C-0B8D1E954F9B}" type="pres">
      <dgm:prSet presAssocID="{67C889A3-BDA0-4AE3-B79F-9CB47D9C73F0}" presName="Parent" presStyleLbl="node0" presStyleIdx="6" presStyleCnt="10" custLinFactX="-102261" custLinFactY="236608" custLinFactNeighborX="-200000" custLinFactNeighborY="300000">
        <dgm:presLayoutVars>
          <dgm:bulletEnabled val="1"/>
        </dgm:presLayoutVars>
      </dgm:prSet>
      <dgm:spPr/>
    </dgm:pt>
    <dgm:pt modelId="{D5C028F4-C426-482B-BB0A-4D63AB9B12DE}" type="pres">
      <dgm:prSet presAssocID="{CEDEA25E-A62F-428E-967C-AF8AC1CEE1E4}" presName="sibTrans" presStyleCnt="0"/>
      <dgm:spPr/>
    </dgm:pt>
    <dgm:pt modelId="{7C84CA96-8C75-4DD6-A01B-CF4023A7DAAC}" type="pres">
      <dgm:prSet presAssocID="{4961155B-3DEE-4E57-81DE-48B4BB40CB79}" presName="composite" presStyleCnt="0"/>
      <dgm:spPr/>
    </dgm:pt>
    <dgm:pt modelId="{B5221D01-1A96-4C56-B5C9-E76E37A39092}" type="pres">
      <dgm:prSet presAssocID="{4961155B-3DEE-4E57-81DE-48B4BB40CB79}" presName="Image" presStyleLbl="bgShp" presStyleIdx="7" presStyleCnt="10" custScaleY="117096" custLinFactX="-26767" custLinFactY="32517" custLinFactNeighborX="-100000" custLinFactNeighborY="100000"/>
      <dgm:spPr>
        <a:blipFill rotWithShape="1">
          <a:blip xmlns:r="http://schemas.openxmlformats.org/officeDocument/2006/relationships" r:embed="rId8"/>
          <a:srcRect/>
          <a:stretch>
            <a:fillRect t="-59000" b="-59000"/>
          </a:stretch>
        </a:blipFill>
      </dgm:spPr>
    </dgm:pt>
    <dgm:pt modelId="{2EAEE2DF-7D3D-45F1-9A3B-7DDA5E50515B}" type="pres">
      <dgm:prSet presAssocID="{4961155B-3DEE-4E57-81DE-48B4BB40CB79}" presName="Parent" presStyleLbl="node0" presStyleIdx="7" presStyleCnt="10" custScaleX="100701" custLinFactX="-64972" custLinFactY="243186" custLinFactNeighborX="-100000" custLinFactNeighborY="300000">
        <dgm:presLayoutVars>
          <dgm:bulletEnabled val="1"/>
        </dgm:presLayoutVars>
      </dgm:prSet>
      <dgm:spPr/>
    </dgm:pt>
    <dgm:pt modelId="{0DC45172-B45B-4F24-8241-6CF729599999}" type="pres">
      <dgm:prSet presAssocID="{C7C3481E-2ED7-4489-AA02-C898CCEF09F4}" presName="sibTrans" presStyleCnt="0"/>
      <dgm:spPr/>
    </dgm:pt>
    <dgm:pt modelId="{4C5317F4-FB7A-4F41-9C56-D5BB5B44CFCE}" type="pres">
      <dgm:prSet presAssocID="{79AA76F0-29BC-4BC4-B0D2-E372F9C97966}" presName="composite" presStyleCnt="0"/>
      <dgm:spPr/>
    </dgm:pt>
    <dgm:pt modelId="{33D78FBF-F07C-4E0B-9E88-F0F7BB780A30}" type="pres">
      <dgm:prSet presAssocID="{79AA76F0-29BC-4BC4-B0D2-E372F9C97966}" presName="Image" presStyleLbl="bgShp" presStyleIdx="8" presStyleCnt="10" custScaleY="128022" custLinFactNeighborX="-3902" custLinFactNeighborY="13147"/>
      <dgm:spPr>
        <a:blipFill rotWithShape="1">
          <a:blip xmlns:r="http://schemas.openxmlformats.org/officeDocument/2006/relationships" r:embed="rId9"/>
          <a:srcRect/>
          <a:stretch>
            <a:fillRect t="-25000" b="-25000"/>
          </a:stretch>
        </a:blipFill>
      </dgm:spPr>
    </dgm:pt>
    <dgm:pt modelId="{7A5B1AD2-5915-4169-B80A-5291073BA319}" type="pres">
      <dgm:prSet presAssocID="{79AA76F0-29BC-4BC4-B0D2-E372F9C97966}" presName="Parent" presStyleLbl="node0" presStyleIdx="8" presStyleCnt="10" custScaleY="63384" custLinFactNeighborX="-24331" custLinFactNeighborY="54387">
        <dgm:presLayoutVars>
          <dgm:bulletEnabled val="1"/>
        </dgm:presLayoutVars>
      </dgm:prSet>
      <dgm:spPr/>
    </dgm:pt>
    <dgm:pt modelId="{083E7280-EA97-45CA-B852-DCD23BE6D2CD}" type="pres">
      <dgm:prSet presAssocID="{9C9A4B53-A58F-4D56-AD54-F0FF3273F898}" presName="sibTrans" presStyleCnt="0"/>
      <dgm:spPr/>
    </dgm:pt>
    <dgm:pt modelId="{0F4C46B7-2E81-48CA-BA5F-8D1D73FEDBA7}" type="pres">
      <dgm:prSet presAssocID="{DDA76D78-F039-4DF0-8E04-95DB8EC88D95}" presName="composite" presStyleCnt="0"/>
      <dgm:spPr/>
    </dgm:pt>
    <dgm:pt modelId="{A1EEFD0B-C547-4545-A6C1-A026E734673C}" type="pres">
      <dgm:prSet presAssocID="{DDA76D78-F039-4DF0-8E04-95DB8EC88D95}" presName="Image" presStyleLbl="bgShp" presStyleIdx="9" presStyleCnt="10" custLinFactX="25773" custLinFactNeighborX="100000" custLinFactNeighborY="-90524"/>
      <dgm:spPr>
        <a:blipFill rotWithShape="1">
          <a:blip xmlns:r="http://schemas.openxmlformats.org/officeDocument/2006/relationships" r:embed="rId10"/>
          <a:srcRect/>
          <a:stretch>
            <a:fillRect t="-5000" b="-5000"/>
          </a:stretch>
        </a:blipFill>
      </dgm:spPr>
    </dgm:pt>
    <dgm:pt modelId="{649CE762-E77C-495C-BE76-4CE77385BED8}" type="pres">
      <dgm:prSet presAssocID="{DDA76D78-F039-4DF0-8E04-95DB8EC88D95}" presName="Parent" presStyleLbl="node0" presStyleIdx="9" presStyleCnt="10" custLinFactX="31005" custLinFactY="-100000" custLinFactNeighborX="100000" custLinFactNeighborY="-181981">
        <dgm:presLayoutVars>
          <dgm:bulletEnabled val="1"/>
        </dgm:presLayoutVars>
      </dgm:prSet>
      <dgm:spPr/>
    </dgm:pt>
  </dgm:ptLst>
  <dgm:cxnLst>
    <dgm:cxn modelId="{E20A7C0B-38A5-4920-9DF0-1602EF7B20A0}" type="presOf" srcId="{0AC372CD-AEF9-43A2-AFE7-3ACD84C3A10D}" destId="{AAF0E751-EB18-40CC-A04B-C4DD54052402}" srcOrd="0" destOrd="0" presId="urn:microsoft.com/office/officeart/2008/layout/BendingPictureCaption"/>
    <dgm:cxn modelId="{D6EC6E1E-9B17-46A8-B048-EDB62E25D188}" srcId="{68177FE2-E87C-410F-9424-EDA9101B6916}" destId="{92D71F7B-9E53-4694-9DBF-63472F15221F}" srcOrd="0" destOrd="0" parTransId="{7FC949D0-0BB7-40A0-A650-33BBEB00D22A}" sibTransId="{0D464863-EC01-41BF-838E-0DCBDE4DAC5D}"/>
    <dgm:cxn modelId="{727CFE1F-8FE9-4C90-B557-51FF79ADD64B}" srcId="{68177FE2-E87C-410F-9424-EDA9101B6916}" destId="{0AC372CD-AEF9-43A2-AFE7-3ACD84C3A10D}" srcOrd="2" destOrd="0" parTransId="{CC121321-B71E-4C3B-BA69-F0647D0F33B0}" sibTransId="{08FE750C-E358-4F91-BBF0-1ABA09279175}"/>
    <dgm:cxn modelId="{49C2735D-BC40-41FE-811A-41255655F37A}" srcId="{68177FE2-E87C-410F-9424-EDA9101B6916}" destId="{AFD70BE8-17BE-4D51-AE37-B5890E7DF651}" srcOrd="3" destOrd="0" parTransId="{FFAE2FFC-CE8D-4BD7-90EB-62513F943ECB}" sibTransId="{D7434D0A-97E0-41AA-A2E1-8BFD043ED367}"/>
    <dgm:cxn modelId="{33FA985F-F778-4FFC-871B-4C4793423787}" type="presOf" srcId="{68177FE2-E87C-410F-9424-EDA9101B6916}" destId="{0F9649FA-0F2B-4D49-9A9D-9E0D6F657BB4}" srcOrd="0" destOrd="0" presId="urn:microsoft.com/office/officeart/2008/layout/BendingPictureCaption"/>
    <dgm:cxn modelId="{BDAC3B6E-7D50-4AB1-9BEC-3707A26A1CF0}" srcId="{68177FE2-E87C-410F-9424-EDA9101B6916}" destId="{4961155B-3DEE-4E57-81DE-48B4BB40CB79}" srcOrd="7" destOrd="0" parTransId="{48C86BA5-2B03-46E0-8641-0FAE4DD3318F}" sibTransId="{C7C3481E-2ED7-4489-AA02-C898CCEF09F4}"/>
    <dgm:cxn modelId="{6FD32E73-0818-4B45-B6C4-BC96AA8F778E}" type="presOf" srcId="{4961155B-3DEE-4E57-81DE-48B4BB40CB79}" destId="{2EAEE2DF-7D3D-45F1-9A3B-7DDA5E50515B}" srcOrd="0" destOrd="0" presId="urn:microsoft.com/office/officeart/2008/layout/BendingPictureCaption"/>
    <dgm:cxn modelId="{4676AC54-D737-4DC4-AEC8-49D80EE1EE03}" srcId="{68177FE2-E87C-410F-9424-EDA9101B6916}" destId="{79AA76F0-29BC-4BC4-B0D2-E372F9C97966}" srcOrd="8" destOrd="0" parTransId="{A1780977-04FF-482F-AB17-BF8B7C6FB8A9}" sibTransId="{9C9A4B53-A58F-4D56-AD54-F0FF3273F898}"/>
    <dgm:cxn modelId="{B0BA6177-DBB7-4EB2-8EB8-399130BC664F}" type="presOf" srcId="{291047B0-0C88-4FA2-95CD-59EB040103EC}" destId="{88F2BC87-E93A-4AEA-8B2C-3E3E6D063614}" srcOrd="0" destOrd="0" presId="urn:microsoft.com/office/officeart/2008/layout/BendingPictureCaption"/>
    <dgm:cxn modelId="{B71ED886-2BB8-48C5-8B7A-1DD26D2F5C3F}" type="presOf" srcId="{66F290F2-756A-4DE1-83CB-B489E4B0F322}" destId="{C2A3D334-942B-4D0A-8AA9-12C876583441}" srcOrd="0" destOrd="0" presId="urn:microsoft.com/office/officeart/2008/layout/BendingPictureCaption"/>
    <dgm:cxn modelId="{5A86428B-D982-4531-8319-037BCC7162C2}" type="presOf" srcId="{AFD70BE8-17BE-4D51-AE37-B5890E7DF651}" destId="{719CDEE6-6AA4-47C4-930B-8A2D0F15D42D}" srcOrd="0" destOrd="0" presId="urn:microsoft.com/office/officeart/2008/layout/BendingPictureCaption"/>
    <dgm:cxn modelId="{8EBB0D8C-4383-4777-B4EA-90BBE6ACB5C6}" srcId="{68177FE2-E87C-410F-9424-EDA9101B6916}" destId="{67C889A3-BDA0-4AE3-B79F-9CB47D9C73F0}" srcOrd="6" destOrd="0" parTransId="{266B9DC1-3D8C-4E48-87DD-B75A05EB5137}" sibTransId="{CEDEA25E-A62F-428E-967C-AF8AC1CEE1E4}"/>
    <dgm:cxn modelId="{EDF0658E-A99C-4CBE-A24C-8398176DF705}" srcId="{68177FE2-E87C-410F-9424-EDA9101B6916}" destId="{DDA76D78-F039-4DF0-8E04-95DB8EC88D95}" srcOrd="9" destOrd="0" parTransId="{BAE0A815-3116-44EA-9EDA-54605CC8CC79}" sibTransId="{38200A0D-9A3B-4E5F-BD7A-379F8ECA660C}"/>
    <dgm:cxn modelId="{C0A68195-4632-4CA7-A929-D80BE351D810}" type="presOf" srcId="{92D71F7B-9E53-4694-9DBF-63472F15221F}" destId="{A11D78F1-28E9-4629-BDAA-3F3A1864D479}" srcOrd="0" destOrd="0" presId="urn:microsoft.com/office/officeart/2008/layout/BendingPictureCaption"/>
    <dgm:cxn modelId="{9CDF13A6-A645-41C2-845E-2E4006FE6A89}" type="presOf" srcId="{67C889A3-BDA0-4AE3-B79F-9CB47D9C73F0}" destId="{AE1F0795-863F-40A7-B86C-0B8D1E954F9B}" srcOrd="0" destOrd="0" presId="urn:microsoft.com/office/officeart/2008/layout/BendingPictureCaption"/>
    <dgm:cxn modelId="{43BD11AD-C763-4668-8554-7FB4EAE8AF3E}" type="presOf" srcId="{2721616C-80F0-4E4B-8C1B-E521B19CC6B8}" destId="{038A7C02-72B4-4C16-82A3-935AA62AC791}" srcOrd="0" destOrd="0" presId="urn:microsoft.com/office/officeart/2008/layout/BendingPictureCaption"/>
    <dgm:cxn modelId="{F878F8AE-B75B-45C2-95FE-A364B929D5C5}" srcId="{68177FE2-E87C-410F-9424-EDA9101B6916}" destId="{66F290F2-756A-4DE1-83CB-B489E4B0F322}" srcOrd="4" destOrd="0" parTransId="{0FC12659-C81A-4D97-8079-778DCEB8B479}" sibTransId="{D4A7494D-5D34-454A-AEC8-A10787B373F1}"/>
    <dgm:cxn modelId="{A63D55B3-F148-4206-9BA3-3597620EC66D}" type="presOf" srcId="{79AA76F0-29BC-4BC4-B0D2-E372F9C97966}" destId="{7A5B1AD2-5915-4169-B80A-5291073BA319}" srcOrd="0" destOrd="0" presId="urn:microsoft.com/office/officeart/2008/layout/BendingPictureCaption"/>
    <dgm:cxn modelId="{3617F9C4-7339-45F4-A4F6-437852280B77}" type="presOf" srcId="{DDA76D78-F039-4DF0-8E04-95DB8EC88D95}" destId="{649CE762-E77C-495C-BE76-4CE77385BED8}" srcOrd="0" destOrd="0" presId="urn:microsoft.com/office/officeart/2008/layout/BendingPictureCaption"/>
    <dgm:cxn modelId="{C71762C6-66DB-42E8-B322-66B9508006F6}" srcId="{68177FE2-E87C-410F-9424-EDA9101B6916}" destId="{2721616C-80F0-4E4B-8C1B-E521B19CC6B8}" srcOrd="5" destOrd="0" parTransId="{C2378EBE-3E03-4EE4-90B3-678988EBD803}" sibTransId="{50E79AB7-A03E-4AFD-B785-28458A8FAE22}"/>
    <dgm:cxn modelId="{42DF16E5-F831-4FF8-AB1A-61F88558BBFE}" srcId="{68177FE2-E87C-410F-9424-EDA9101B6916}" destId="{291047B0-0C88-4FA2-95CD-59EB040103EC}" srcOrd="1" destOrd="0" parTransId="{39ED18C5-BE98-4E8D-A15B-74C7C9AE2B11}" sibTransId="{CC13EDA1-4A43-41DF-BC28-CE310587C58C}"/>
    <dgm:cxn modelId="{4B49EA3C-2CDA-4CD3-9A75-C50FF1813D8F}" type="presParOf" srcId="{0F9649FA-0F2B-4D49-9A9D-9E0D6F657BB4}" destId="{C50195BC-7B1A-4F7A-A28D-D80583E70120}" srcOrd="0" destOrd="0" presId="urn:microsoft.com/office/officeart/2008/layout/BendingPictureCaption"/>
    <dgm:cxn modelId="{B45A37EC-5136-452A-81A9-A23359FDFBED}" type="presParOf" srcId="{C50195BC-7B1A-4F7A-A28D-D80583E70120}" destId="{34011CCB-48AF-4C05-AC4B-D18E6A3FCFBC}" srcOrd="0" destOrd="0" presId="urn:microsoft.com/office/officeart/2008/layout/BendingPictureCaption"/>
    <dgm:cxn modelId="{4CFFF00F-9718-48A4-A884-C9CF75F7783B}" type="presParOf" srcId="{C50195BC-7B1A-4F7A-A28D-D80583E70120}" destId="{A11D78F1-28E9-4629-BDAA-3F3A1864D479}" srcOrd="1" destOrd="0" presId="urn:microsoft.com/office/officeart/2008/layout/BendingPictureCaption"/>
    <dgm:cxn modelId="{9D5D0977-F2CF-4BB9-B9A6-3CBFE4F7594A}" type="presParOf" srcId="{0F9649FA-0F2B-4D49-9A9D-9E0D6F657BB4}" destId="{28806D05-21DC-4727-9E7C-5900D37B5A29}" srcOrd="1" destOrd="0" presId="urn:microsoft.com/office/officeart/2008/layout/BendingPictureCaption"/>
    <dgm:cxn modelId="{C955D034-D612-44F2-AD47-03AEF0CA7628}" type="presParOf" srcId="{0F9649FA-0F2B-4D49-9A9D-9E0D6F657BB4}" destId="{982A919E-9E65-4BB0-9D92-66177CA761B5}" srcOrd="2" destOrd="0" presId="urn:microsoft.com/office/officeart/2008/layout/BendingPictureCaption"/>
    <dgm:cxn modelId="{0D72B69E-E285-4080-B55B-198EB4810212}" type="presParOf" srcId="{982A919E-9E65-4BB0-9D92-66177CA761B5}" destId="{AAA5CADE-2684-4576-B7A3-75C016186848}" srcOrd="0" destOrd="0" presId="urn:microsoft.com/office/officeart/2008/layout/BendingPictureCaption"/>
    <dgm:cxn modelId="{6D577285-FF89-4189-930D-1ED3814E13C8}" type="presParOf" srcId="{982A919E-9E65-4BB0-9D92-66177CA761B5}" destId="{88F2BC87-E93A-4AEA-8B2C-3E3E6D063614}" srcOrd="1" destOrd="0" presId="urn:microsoft.com/office/officeart/2008/layout/BendingPictureCaption"/>
    <dgm:cxn modelId="{9348D630-5B5B-40E9-B5CD-934EAC2A9FA2}" type="presParOf" srcId="{0F9649FA-0F2B-4D49-9A9D-9E0D6F657BB4}" destId="{2AAF8045-401B-4061-83F5-9472A933294E}" srcOrd="3" destOrd="0" presId="urn:microsoft.com/office/officeart/2008/layout/BendingPictureCaption"/>
    <dgm:cxn modelId="{D2A84E9C-D88B-4869-B21C-C3B7EDF7F1C3}" type="presParOf" srcId="{0F9649FA-0F2B-4D49-9A9D-9E0D6F657BB4}" destId="{E382DA15-E29A-45B8-B237-A6480853BE76}" srcOrd="4" destOrd="0" presId="urn:microsoft.com/office/officeart/2008/layout/BendingPictureCaption"/>
    <dgm:cxn modelId="{6FD3F137-9658-41CB-AD7C-9339DCB1561F}" type="presParOf" srcId="{E382DA15-E29A-45B8-B237-A6480853BE76}" destId="{62DBE511-E997-4ED5-97A9-2C4C70AD8BF9}" srcOrd="0" destOrd="0" presId="urn:microsoft.com/office/officeart/2008/layout/BendingPictureCaption"/>
    <dgm:cxn modelId="{D58435FE-65B5-418B-841A-C5658C6AF5A4}" type="presParOf" srcId="{E382DA15-E29A-45B8-B237-A6480853BE76}" destId="{AAF0E751-EB18-40CC-A04B-C4DD54052402}" srcOrd="1" destOrd="0" presId="urn:microsoft.com/office/officeart/2008/layout/BendingPictureCaption"/>
    <dgm:cxn modelId="{35B31150-9840-4AAD-8D35-1D1FC68A87EF}" type="presParOf" srcId="{0F9649FA-0F2B-4D49-9A9D-9E0D6F657BB4}" destId="{42E2B376-BCB8-47C0-B8F6-1748A51B6D7C}" srcOrd="5" destOrd="0" presId="urn:microsoft.com/office/officeart/2008/layout/BendingPictureCaption"/>
    <dgm:cxn modelId="{322229F9-DF08-433F-B5B1-621DCD446744}" type="presParOf" srcId="{0F9649FA-0F2B-4D49-9A9D-9E0D6F657BB4}" destId="{E7A7B094-7EA0-4936-BE7E-70381AD25A35}" srcOrd="6" destOrd="0" presId="urn:microsoft.com/office/officeart/2008/layout/BendingPictureCaption"/>
    <dgm:cxn modelId="{A977D62A-0083-439B-B3E6-B80DC8933F42}" type="presParOf" srcId="{E7A7B094-7EA0-4936-BE7E-70381AD25A35}" destId="{6E62CEB0-6884-4B16-A140-A8028FC83ABE}" srcOrd="0" destOrd="0" presId="urn:microsoft.com/office/officeart/2008/layout/BendingPictureCaption"/>
    <dgm:cxn modelId="{41868B7B-BBE9-42AF-A527-E65279CAAA63}" type="presParOf" srcId="{E7A7B094-7EA0-4936-BE7E-70381AD25A35}" destId="{719CDEE6-6AA4-47C4-930B-8A2D0F15D42D}" srcOrd="1" destOrd="0" presId="urn:microsoft.com/office/officeart/2008/layout/BendingPictureCaption"/>
    <dgm:cxn modelId="{6274C86D-8B4D-40EC-B716-20F247BCD4B8}" type="presParOf" srcId="{0F9649FA-0F2B-4D49-9A9D-9E0D6F657BB4}" destId="{88D21A13-D036-4692-B4F8-73551835D776}" srcOrd="7" destOrd="0" presId="urn:microsoft.com/office/officeart/2008/layout/BendingPictureCaption"/>
    <dgm:cxn modelId="{10BB7E2C-F96E-4757-8FB5-C1618D571E3F}" type="presParOf" srcId="{0F9649FA-0F2B-4D49-9A9D-9E0D6F657BB4}" destId="{3AB296E2-85F5-4876-B17E-CC5B7CACE056}" srcOrd="8" destOrd="0" presId="urn:microsoft.com/office/officeart/2008/layout/BendingPictureCaption"/>
    <dgm:cxn modelId="{AD5F91E6-4391-4B0D-948B-B60881CED70A}" type="presParOf" srcId="{3AB296E2-85F5-4876-B17E-CC5B7CACE056}" destId="{5C77BA56-90FD-473D-8F89-2E950CFC3619}" srcOrd="0" destOrd="0" presId="urn:microsoft.com/office/officeart/2008/layout/BendingPictureCaption"/>
    <dgm:cxn modelId="{DEFE5FED-0A21-4474-BC74-38BE8B4FF180}" type="presParOf" srcId="{3AB296E2-85F5-4876-B17E-CC5B7CACE056}" destId="{C2A3D334-942B-4D0A-8AA9-12C876583441}" srcOrd="1" destOrd="0" presId="urn:microsoft.com/office/officeart/2008/layout/BendingPictureCaption"/>
    <dgm:cxn modelId="{EDAE9BAF-E60C-478A-9812-382EA3BCCDE3}" type="presParOf" srcId="{0F9649FA-0F2B-4D49-9A9D-9E0D6F657BB4}" destId="{9E95B59F-66FF-4C0B-984B-19F092CD5D7D}" srcOrd="9" destOrd="0" presId="urn:microsoft.com/office/officeart/2008/layout/BendingPictureCaption"/>
    <dgm:cxn modelId="{65FD7831-9E4B-49FC-9D32-1CE588DDDA51}" type="presParOf" srcId="{0F9649FA-0F2B-4D49-9A9D-9E0D6F657BB4}" destId="{C0900B41-9387-4C43-A484-A9B2F04042C5}" srcOrd="10" destOrd="0" presId="urn:microsoft.com/office/officeart/2008/layout/BendingPictureCaption"/>
    <dgm:cxn modelId="{930899A4-8FFF-4BC8-8EF2-9066AE9777DA}" type="presParOf" srcId="{C0900B41-9387-4C43-A484-A9B2F04042C5}" destId="{7BF8577C-C21A-4B23-AB81-8D615C1ECD84}" srcOrd="0" destOrd="0" presId="urn:microsoft.com/office/officeart/2008/layout/BendingPictureCaption"/>
    <dgm:cxn modelId="{7E62BB1A-D2CD-47C0-BBF1-657A7702711B}" type="presParOf" srcId="{C0900B41-9387-4C43-A484-A9B2F04042C5}" destId="{038A7C02-72B4-4C16-82A3-935AA62AC791}" srcOrd="1" destOrd="0" presId="urn:microsoft.com/office/officeart/2008/layout/BendingPictureCaption"/>
    <dgm:cxn modelId="{48B4A438-F16B-434F-BC8C-FBEFF2808A5F}" type="presParOf" srcId="{0F9649FA-0F2B-4D49-9A9D-9E0D6F657BB4}" destId="{186AC130-05F2-46BC-944A-C68DE8D9F38D}" srcOrd="11" destOrd="0" presId="urn:microsoft.com/office/officeart/2008/layout/BendingPictureCaption"/>
    <dgm:cxn modelId="{C2584CF8-62D8-42B1-91F7-B67131D7E60E}" type="presParOf" srcId="{0F9649FA-0F2B-4D49-9A9D-9E0D6F657BB4}" destId="{6541AD88-8798-4914-8020-2D145D21BD27}" srcOrd="12" destOrd="0" presId="urn:microsoft.com/office/officeart/2008/layout/BendingPictureCaption"/>
    <dgm:cxn modelId="{E936D1CD-B946-4217-B7A5-BE54CC695650}" type="presParOf" srcId="{6541AD88-8798-4914-8020-2D145D21BD27}" destId="{B6F1431D-70F5-4B70-B4FC-402DA8969F1D}" srcOrd="0" destOrd="0" presId="urn:microsoft.com/office/officeart/2008/layout/BendingPictureCaption"/>
    <dgm:cxn modelId="{A9827F23-0BD3-4FB2-B994-F47F72A5C2BA}" type="presParOf" srcId="{6541AD88-8798-4914-8020-2D145D21BD27}" destId="{AE1F0795-863F-40A7-B86C-0B8D1E954F9B}" srcOrd="1" destOrd="0" presId="urn:microsoft.com/office/officeart/2008/layout/BendingPictureCaption"/>
    <dgm:cxn modelId="{5A52AECC-923C-4272-B5BA-57F4E52D1F27}" type="presParOf" srcId="{0F9649FA-0F2B-4D49-9A9D-9E0D6F657BB4}" destId="{D5C028F4-C426-482B-BB0A-4D63AB9B12DE}" srcOrd="13" destOrd="0" presId="urn:microsoft.com/office/officeart/2008/layout/BendingPictureCaption"/>
    <dgm:cxn modelId="{4D6AED00-8EBF-45F5-AEDC-D011529775BA}" type="presParOf" srcId="{0F9649FA-0F2B-4D49-9A9D-9E0D6F657BB4}" destId="{7C84CA96-8C75-4DD6-A01B-CF4023A7DAAC}" srcOrd="14" destOrd="0" presId="urn:microsoft.com/office/officeart/2008/layout/BendingPictureCaption"/>
    <dgm:cxn modelId="{0A9CF6CF-CEEC-4284-9E9D-8EC4AE00B452}" type="presParOf" srcId="{7C84CA96-8C75-4DD6-A01B-CF4023A7DAAC}" destId="{B5221D01-1A96-4C56-B5C9-E76E37A39092}" srcOrd="0" destOrd="0" presId="urn:microsoft.com/office/officeart/2008/layout/BendingPictureCaption"/>
    <dgm:cxn modelId="{85D9F6F9-E556-4273-A5CE-6BD5A02FF40B}" type="presParOf" srcId="{7C84CA96-8C75-4DD6-A01B-CF4023A7DAAC}" destId="{2EAEE2DF-7D3D-45F1-9A3B-7DDA5E50515B}" srcOrd="1" destOrd="0" presId="urn:microsoft.com/office/officeart/2008/layout/BendingPictureCaption"/>
    <dgm:cxn modelId="{62CFDF12-35D2-4374-8275-D5BF2AEA649A}" type="presParOf" srcId="{0F9649FA-0F2B-4D49-9A9D-9E0D6F657BB4}" destId="{0DC45172-B45B-4F24-8241-6CF729599999}" srcOrd="15" destOrd="0" presId="urn:microsoft.com/office/officeart/2008/layout/BendingPictureCaption"/>
    <dgm:cxn modelId="{8ED2D90D-22B9-4D11-AA30-C3A634A1D2CB}" type="presParOf" srcId="{0F9649FA-0F2B-4D49-9A9D-9E0D6F657BB4}" destId="{4C5317F4-FB7A-4F41-9C56-D5BB5B44CFCE}" srcOrd="16" destOrd="0" presId="urn:microsoft.com/office/officeart/2008/layout/BendingPictureCaption"/>
    <dgm:cxn modelId="{8ED5A66E-96FD-459C-A1C1-8DCE993FC8C4}" type="presParOf" srcId="{4C5317F4-FB7A-4F41-9C56-D5BB5B44CFCE}" destId="{33D78FBF-F07C-4E0B-9E88-F0F7BB780A30}" srcOrd="0" destOrd="0" presId="urn:microsoft.com/office/officeart/2008/layout/BendingPictureCaption"/>
    <dgm:cxn modelId="{6559FCA9-2077-4C77-A067-D3F49B51B4FB}" type="presParOf" srcId="{4C5317F4-FB7A-4F41-9C56-D5BB5B44CFCE}" destId="{7A5B1AD2-5915-4169-B80A-5291073BA319}" srcOrd="1" destOrd="0" presId="urn:microsoft.com/office/officeart/2008/layout/BendingPictureCaption"/>
    <dgm:cxn modelId="{E961A515-943E-4591-8046-2F32D0AC7403}" type="presParOf" srcId="{0F9649FA-0F2B-4D49-9A9D-9E0D6F657BB4}" destId="{083E7280-EA97-45CA-B852-DCD23BE6D2CD}" srcOrd="17" destOrd="0" presId="urn:microsoft.com/office/officeart/2008/layout/BendingPictureCaption"/>
    <dgm:cxn modelId="{60D640D9-F33F-4A9A-897F-5802F3E7E4DB}" type="presParOf" srcId="{0F9649FA-0F2B-4D49-9A9D-9E0D6F657BB4}" destId="{0F4C46B7-2E81-48CA-BA5F-8D1D73FEDBA7}" srcOrd="18" destOrd="0" presId="urn:microsoft.com/office/officeart/2008/layout/BendingPictureCaption"/>
    <dgm:cxn modelId="{9BBF7E79-2574-48D9-AD1D-49050DFFB0DD}" type="presParOf" srcId="{0F4C46B7-2E81-48CA-BA5F-8D1D73FEDBA7}" destId="{A1EEFD0B-C547-4545-A6C1-A026E734673C}" srcOrd="0" destOrd="0" presId="urn:microsoft.com/office/officeart/2008/layout/BendingPictureCaption"/>
    <dgm:cxn modelId="{F353898E-5ED1-4B97-84E7-830B2E87BEB2}" type="presParOf" srcId="{0F4C46B7-2E81-48CA-BA5F-8D1D73FEDBA7}" destId="{649CE762-E77C-495C-BE76-4CE77385BED8}"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B717544-A3EF-4F10-A952-C60434F815EC}" type="doc">
      <dgm:prSet loTypeId="urn:microsoft.com/office/officeart/2005/8/layout/gear1" loCatId="process" qsTypeId="urn:microsoft.com/office/officeart/2005/8/quickstyle/simple1" qsCatId="simple" csTypeId="urn:microsoft.com/office/officeart/2005/8/colors/accent1_2" csCatId="accent1" phldr="1"/>
      <dgm:spPr/>
    </dgm:pt>
    <dgm:pt modelId="{AA9525B4-5E53-4AC9-855E-66319892AE75}">
      <dgm:prSet phldrT="[Text]" custT="1"/>
      <dgm:spPr/>
      <dgm:t>
        <a:bodyPr/>
        <a:lstStyle/>
        <a:p>
          <a:r>
            <a:rPr lang="de-DE" sz="1200"/>
            <a:t>Production</a:t>
          </a:r>
          <a:endParaRPr lang="de-DE" sz="1200" dirty="0"/>
        </a:p>
      </dgm:t>
    </dgm:pt>
    <dgm:pt modelId="{D9FEF7A5-36CF-4F8A-8FC0-D4B1389EC2A4}" type="parTrans" cxnId="{C0F5E938-8C6B-4713-803C-B7763E4E8B3A}">
      <dgm:prSet/>
      <dgm:spPr/>
      <dgm:t>
        <a:bodyPr/>
        <a:lstStyle/>
        <a:p>
          <a:endParaRPr lang="de-DE"/>
        </a:p>
      </dgm:t>
    </dgm:pt>
    <dgm:pt modelId="{CC961D25-C05D-40F5-848D-8AD27EB76167}" type="sibTrans" cxnId="{C0F5E938-8C6B-4713-803C-B7763E4E8B3A}">
      <dgm:prSet/>
      <dgm:spPr/>
      <dgm:t>
        <a:bodyPr/>
        <a:lstStyle/>
        <a:p>
          <a:endParaRPr lang="de-DE"/>
        </a:p>
      </dgm:t>
    </dgm:pt>
    <dgm:pt modelId="{FD133551-B12A-4358-BFA0-B4EB28CE126E}">
      <dgm:prSet phldrT="[Text]" custT="1"/>
      <dgm:spPr/>
      <dgm:t>
        <a:bodyPr/>
        <a:lstStyle/>
        <a:p>
          <a:r>
            <a:rPr lang="de-DE" sz="1200" dirty="0"/>
            <a:t>Scaleup</a:t>
          </a:r>
        </a:p>
      </dgm:t>
    </dgm:pt>
    <dgm:pt modelId="{C220F341-959E-466F-BA7F-AC2C7182FAF2}" type="parTrans" cxnId="{94ADCE46-F439-4A38-BC48-EA326CCD6EF4}">
      <dgm:prSet/>
      <dgm:spPr/>
      <dgm:t>
        <a:bodyPr/>
        <a:lstStyle/>
        <a:p>
          <a:endParaRPr lang="de-DE"/>
        </a:p>
      </dgm:t>
    </dgm:pt>
    <dgm:pt modelId="{1E6E5920-113B-46A2-AEA1-4A868C07C6B6}" type="sibTrans" cxnId="{94ADCE46-F439-4A38-BC48-EA326CCD6EF4}">
      <dgm:prSet/>
      <dgm:spPr/>
      <dgm:t>
        <a:bodyPr/>
        <a:lstStyle/>
        <a:p>
          <a:endParaRPr lang="de-DE"/>
        </a:p>
      </dgm:t>
    </dgm:pt>
    <dgm:pt modelId="{7F7CA8C4-70A8-4303-88DE-1D429E81562C}">
      <dgm:prSet phldrT="[Text]" custT="1"/>
      <dgm:spPr/>
      <dgm:t>
        <a:bodyPr/>
        <a:lstStyle/>
        <a:p>
          <a:r>
            <a:rPr lang="de-DE" sz="1200" dirty="0"/>
            <a:t>R&amp;D</a:t>
          </a:r>
        </a:p>
      </dgm:t>
    </dgm:pt>
    <dgm:pt modelId="{A1B3BE5A-294E-41C3-AEFC-7363A2B331D6}" type="parTrans" cxnId="{7E926FAA-310E-48FB-BCE7-843DAD224121}">
      <dgm:prSet/>
      <dgm:spPr/>
      <dgm:t>
        <a:bodyPr/>
        <a:lstStyle/>
        <a:p>
          <a:endParaRPr lang="de-DE"/>
        </a:p>
      </dgm:t>
    </dgm:pt>
    <dgm:pt modelId="{87B0456C-64C4-4DF5-A6A4-51D005649199}" type="sibTrans" cxnId="{7E926FAA-310E-48FB-BCE7-843DAD224121}">
      <dgm:prSet/>
      <dgm:spPr/>
      <dgm:t>
        <a:bodyPr/>
        <a:lstStyle/>
        <a:p>
          <a:endParaRPr lang="de-DE"/>
        </a:p>
      </dgm:t>
    </dgm:pt>
    <dgm:pt modelId="{7BE3E809-5A64-4B06-9786-B802267BEA78}" type="pres">
      <dgm:prSet presAssocID="{BB717544-A3EF-4F10-A952-C60434F815EC}" presName="composite" presStyleCnt="0">
        <dgm:presLayoutVars>
          <dgm:chMax val="3"/>
          <dgm:animLvl val="lvl"/>
          <dgm:resizeHandles val="exact"/>
        </dgm:presLayoutVars>
      </dgm:prSet>
      <dgm:spPr/>
    </dgm:pt>
    <dgm:pt modelId="{BF6AE49D-6519-49D1-ABFB-8ADA24863D25}" type="pres">
      <dgm:prSet presAssocID="{AA9525B4-5E53-4AC9-855E-66319892AE75}" presName="gear1" presStyleLbl="node1" presStyleIdx="0" presStyleCnt="3">
        <dgm:presLayoutVars>
          <dgm:chMax val="1"/>
          <dgm:bulletEnabled val="1"/>
        </dgm:presLayoutVars>
      </dgm:prSet>
      <dgm:spPr/>
    </dgm:pt>
    <dgm:pt modelId="{9C672EBA-BC5A-4408-B854-2AAA4C0E3F4B}" type="pres">
      <dgm:prSet presAssocID="{AA9525B4-5E53-4AC9-855E-66319892AE75}" presName="gear1srcNode" presStyleLbl="node1" presStyleIdx="0" presStyleCnt="3"/>
      <dgm:spPr/>
    </dgm:pt>
    <dgm:pt modelId="{0D4B8D1A-4FFE-4E2E-AA1B-C2EEE6405E6B}" type="pres">
      <dgm:prSet presAssocID="{AA9525B4-5E53-4AC9-855E-66319892AE75}" presName="gear1dstNode" presStyleLbl="node1" presStyleIdx="0" presStyleCnt="3"/>
      <dgm:spPr/>
    </dgm:pt>
    <dgm:pt modelId="{21F07395-49E3-471D-A9FD-CA7BFE7292E3}" type="pres">
      <dgm:prSet presAssocID="{FD133551-B12A-4358-BFA0-B4EB28CE126E}" presName="gear2" presStyleLbl="node1" presStyleIdx="1" presStyleCnt="3" custScaleX="113196" custScaleY="107395">
        <dgm:presLayoutVars>
          <dgm:chMax val="1"/>
          <dgm:bulletEnabled val="1"/>
        </dgm:presLayoutVars>
      </dgm:prSet>
      <dgm:spPr/>
    </dgm:pt>
    <dgm:pt modelId="{12A090F4-F7B4-468C-B843-410744CA363B}" type="pres">
      <dgm:prSet presAssocID="{FD133551-B12A-4358-BFA0-B4EB28CE126E}" presName="gear2srcNode" presStyleLbl="node1" presStyleIdx="1" presStyleCnt="3"/>
      <dgm:spPr/>
    </dgm:pt>
    <dgm:pt modelId="{FAD894DD-DBFC-4B29-B27B-7BD5C7661AFA}" type="pres">
      <dgm:prSet presAssocID="{FD133551-B12A-4358-BFA0-B4EB28CE126E}" presName="gear2dstNode" presStyleLbl="node1" presStyleIdx="1" presStyleCnt="3"/>
      <dgm:spPr/>
    </dgm:pt>
    <dgm:pt modelId="{0F5736F5-91DF-49E6-9542-1715D3100BAB}" type="pres">
      <dgm:prSet presAssocID="{7F7CA8C4-70A8-4303-88DE-1D429E81562C}" presName="gear3" presStyleLbl="node1" presStyleIdx="2" presStyleCnt="3"/>
      <dgm:spPr/>
    </dgm:pt>
    <dgm:pt modelId="{0464CFED-3325-467F-8A41-28C035E38162}" type="pres">
      <dgm:prSet presAssocID="{7F7CA8C4-70A8-4303-88DE-1D429E81562C}" presName="gear3tx" presStyleLbl="node1" presStyleIdx="2" presStyleCnt="3">
        <dgm:presLayoutVars>
          <dgm:chMax val="1"/>
          <dgm:bulletEnabled val="1"/>
        </dgm:presLayoutVars>
      </dgm:prSet>
      <dgm:spPr/>
    </dgm:pt>
    <dgm:pt modelId="{9A24DCBB-FEAD-42FD-9AF8-A50379FC9C0C}" type="pres">
      <dgm:prSet presAssocID="{7F7CA8C4-70A8-4303-88DE-1D429E81562C}" presName="gear3srcNode" presStyleLbl="node1" presStyleIdx="2" presStyleCnt="3"/>
      <dgm:spPr/>
    </dgm:pt>
    <dgm:pt modelId="{3F47450A-82EF-4497-AC93-F20E01D9EAAC}" type="pres">
      <dgm:prSet presAssocID="{7F7CA8C4-70A8-4303-88DE-1D429E81562C}" presName="gear3dstNode" presStyleLbl="node1" presStyleIdx="2" presStyleCnt="3"/>
      <dgm:spPr/>
    </dgm:pt>
    <dgm:pt modelId="{A709413D-203F-42AC-BFB6-7EAE89CADA24}" type="pres">
      <dgm:prSet presAssocID="{CC961D25-C05D-40F5-848D-8AD27EB76167}" presName="connector1" presStyleLbl="sibTrans2D1" presStyleIdx="0" presStyleCnt="3"/>
      <dgm:spPr/>
    </dgm:pt>
    <dgm:pt modelId="{0ED33573-A47B-40C8-991F-FE9621B1B65A}" type="pres">
      <dgm:prSet presAssocID="{1E6E5920-113B-46A2-AEA1-4A868C07C6B6}" presName="connector2" presStyleLbl="sibTrans2D1" presStyleIdx="1" presStyleCnt="3"/>
      <dgm:spPr/>
    </dgm:pt>
    <dgm:pt modelId="{49D2DCD7-FD0A-409A-BFC2-1DF13CCCFF22}" type="pres">
      <dgm:prSet presAssocID="{87B0456C-64C4-4DF5-A6A4-51D005649199}" presName="connector3" presStyleLbl="sibTrans2D1" presStyleIdx="2" presStyleCnt="3"/>
      <dgm:spPr/>
    </dgm:pt>
  </dgm:ptLst>
  <dgm:cxnLst>
    <dgm:cxn modelId="{7E4ECB01-8B87-46D1-BBAE-2BEC9B8DBCA7}" type="presOf" srcId="{FD133551-B12A-4358-BFA0-B4EB28CE126E}" destId="{FAD894DD-DBFC-4B29-B27B-7BD5C7661AFA}" srcOrd="2" destOrd="0" presId="urn:microsoft.com/office/officeart/2005/8/layout/gear1"/>
    <dgm:cxn modelId="{D3617F12-2FF4-4046-840F-0B3B58A76D90}" type="presOf" srcId="{7F7CA8C4-70A8-4303-88DE-1D429E81562C}" destId="{9A24DCBB-FEAD-42FD-9AF8-A50379FC9C0C}" srcOrd="2" destOrd="0" presId="urn:microsoft.com/office/officeart/2005/8/layout/gear1"/>
    <dgm:cxn modelId="{FA9B991B-4F70-4CB3-9139-6E0C77EC9BCE}" type="presOf" srcId="{FD133551-B12A-4358-BFA0-B4EB28CE126E}" destId="{21F07395-49E3-471D-A9FD-CA7BFE7292E3}" srcOrd="0" destOrd="0" presId="urn:microsoft.com/office/officeart/2005/8/layout/gear1"/>
    <dgm:cxn modelId="{FAAC442C-4D6C-41C2-A3CD-E4478E136A54}" type="presOf" srcId="{AA9525B4-5E53-4AC9-855E-66319892AE75}" destId="{9C672EBA-BC5A-4408-B854-2AAA4C0E3F4B}" srcOrd="1" destOrd="0" presId="urn:microsoft.com/office/officeart/2005/8/layout/gear1"/>
    <dgm:cxn modelId="{C0F5E938-8C6B-4713-803C-B7763E4E8B3A}" srcId="{BB717544-A3EF-4F10-A952-C60434F815EC}" destId="{AA9525B4-5E53-4AC9-855E-66319892AE75}" srcOrd="0" destOrd="0" parTransId="{D9FEF7A5-36CF-4F8A-8FC0-D4B1389EC2A4}" sibTransId="{CC961D25-C05D-40F5-848D-8AD27EB76167}"/>
    <dgm:cxn modelId="{94ADCE46-F439-4A38-BC48-EA326CCD6EF4}" srcId="{BB717544-A3EF-4F10-A952-C60434F815EC}" destId="{FD133551-B12A-4358-BFA0-B4EB28CE126E}" srcOrd="1" destOrd="0" parTransId="{C220F341-959E-466F-BA7F-AC2C7182FAF2}" sibTransId="{1E6E5920-113B-46A2-AEA1-4A868C07C6B6}"/>
    <dgm:cxn modelId="{7328EB48-7A84-457D-90A5-474B6CA34846}" type="presOf" srcId="{BB717544-A3EF-4F10-A952-C60434F815EC}" destId="{7BE3E809-5A64-4B06-9786-B802267BEA78}" srcOrd="0" destOrd="0" presId="urn:microsoft.com/office/officeart/2005/8/layout/gear1"/>
    <dgm:cxn modelId="{EF8B4170-B4C5-4291-B01F-5F11D821280D}" type="presOf" srcId="{AA9525B4-5E53-4AC9-855E-66319892AE75}" destId="{BF6AE49D-6519-49D1-ABFB-8ADA24863D25}" srcOrd="0" destOrd="0" presId="urn:microsoft.com/office/officeart/2005/8/layout/gear1"/>
    <dgm:cxn modelId="{5F64A77B-6BDC-440B-AB52-2AE586902177}" type="presOf" srcId="{FD133551-B12A-4358-BFA0-B4EB28CE126E}" destId="{12A090F4-F7B4-468C-B843-410744CA363B}" srcOrd="1" destOrd="0" presId="urn:microsoft.com/office/officeart/2005/8/layout/gear1"/>
    <dgm:cxn modelId="{18698E84-12FA-414C-88DA-BEA2EBE6FF77}" type="presOf" srcId="{87B0456C-64C4-4DF5-A6A4-51D005649199}" destId="{49D2DCD7-FD0A-409A-BFC2-1DF13CCCFF22}" srcOrd="0" destOrd="0" presId="urn:microsoft.com/office/officeart/2005/8/layout/gear1"/>
    <dgm:cxn modelId="{2026D289-B1D9-41AB-A18C-BA2820F0A9E5}" type="presOf" srcId="{7F7CA8C4-70A8-4303-88DE-1D429E81562C}" destId="{0F5736F5-91DF-49E6-9542-1715D3100BAB}" srcOrd="0" destOrd="0" presId="urn:microsoft.com/office/officeart/2005/8/layout/gear1"/>
    <dgm:cxn modelId="{B6A2B28F-5094-4298-87BE-619152D65304}" type="presOf" srcId="{7F7CA8C4-70A8-4303-88DE-1D429E81562C}" destId="{3F47450A-82EF-4497-AC93-F20E01D9EAAC}" srcOrd="3" destOrd="0" presId="urn:microsoft.com/office/officeart/2005/8/layout/gear1"/>
    <dgm:cxn modelId="{D3A96E90-C753-4F88-AA52-CD1800C81228}" type="presOf" srcId="{1E6E5920-113B-46A2-AEA1-4A868C07C6B6}" destId="{0ED33573-A47B-40C8-991F-FE9621B1B65A}" srcOrd="0" destOrd="0" presId="urn:microsoft.com/office/officeart/2005/8/layout/gear1"/>
    <dgm:cxn modelId="{DB8C5B9C-3D35-4F9A-93E7-442F21ED4E76}" type="presOf" srcId="{7F7CA8C4-70A8-4303-88DE-1D429E81562C}" destId="{0464CFED-3325-467F-8A41-28C035E38162}" srcOrd="1" destOrd="0" presId="urn:microsoft.com/office/officeart/2005/8/layout/gear1"/>
    <dgm:cxn modelId="{7E926FAA-310E-48FB-BCE7-843DAD224121}" srcId="{BB717544-A3EF-4F10-A952-C60434F815EC}" destId="{7F7CA8C4-70A8-4303-88DE-1D429E81562C}" srcOrd="2" destOrd="0" parTransId="{A1B3BE5A-294E-41C3-AEFC-7363A2B331D6}" sibTransId="{87B0456C-64C4-4DF5-A6A4-51D005649199}"/>
    <dgm:cxn modelId="{F9BD06AE-D254-4A28-8376-EB016E6DB85D}" type="presOf" srcId="{CC961D25-C05D-40F5-848D-8AD27EB76167}" destId="{A709413D-203F-42AC-BFB6-7EAE89CADA24}" srcOrd="0" destOrd="0" presId="urn:microsoft.com/office/officeart/2005/8/layout/gear1"/>
    <dgm:cxn modelId="{D1B130B1-BAB8-4F78-AA25-D92409E4147E}" type="presOf" srcId="{AA9525B4-5E53-4AC9-855E-66319892AE75}" destId="{0D4B8D1A-4FFE-4E2E-AA1B-C2EEE6405E6B}" srcOrd="2" destOrd="0" presId="urn:microsoft.com/office/officeart/2005/8/layout/gear1"/>
    <dgm:cxn modelId="{AFC4F73E-7ADD-4D09-B1BC-231284515849}" type="presParOf" srcId="{7BE3E809-5A64-4B06-9786-B802267BEA78}" destId="{BF6AE49D-6519-49D1-ABFB-8ADA24863D25}" srcOrd="0" destOrd="0" presId="urn:microsoft.com/office/officeart/2005/8/layout/gear1"/>
    <dgm:cxn modelId="{8BDBC3AA-24A2-4B00-8397-02949B1BD852}" type="presParOf" srcId="{7BE3E809-5A64-4B06-9786-B802267BEA78}" destId="{9C672EBA-BC5A-4408-B854-2AAA4C0E3F4B}" srcOrd="1" destOrd="0" presId="urn:microsoft.com/office/officeart/2005/8/layout/gear1"/>
    <dgm:cxn modelId="{B3EBAD8D-9FB3-4BC8-A327-C7DD68B3F5DA}" type="presParOf" srcId="{7BE3E809-5A64-4B06-9786-B802267BEA78}" destId="{0D4B8D1A-4FFE-4E2E-AA1B-C2EEE6405E6B}" srcOrd="2" destOrd="0" presId="urn:microsoft.com/office/officeart/2005/8/layout/gear1"/>
    <dgm:cxn modelId="{A26765CE-C47D-4F5B-84A8-79F345C6DCC3}" type="presParOf" srcId="{7BE3E809-5A64-4B06-9786-B802267BEA78}" destId="{21F07395-49E3-471D-A9FD-CA7BFE7292E3}" srcOrd="3" destOrd="0" presId="urn:microsoft.com/office/officeart/2005/8/layout/gear1"/>
    <dgm:cxn modelId="{B7300503-A905-44D6-B82F-7E974E6FCBED}" type="presParOf" srcId="{7BE3E809-5A64-4B06-9786-B802267BEA78}" destId="{12A090F4-F7B4-468C-B843-410744CA363B}" srcOrd="4" destOrd="0" presId="urn:microsoft.com/office/officeart/2005/8/layout/gear1"/>
    <dgm:cxn modelId="{B55846C0-303F-4D42-9B3D-2FC988F3629C}" type="presParOf" srcId="{7BE3E809-5A64-4B06-9786-B802267BEA78}" destId="{FAD894DD-DBFC-4B29-B27B-7BD5C7661AFA}" srcOrd="5" destOrd="0" presId="urn:microsoft.com/office/officeart/2005/8/layout/gear1"/>
    <dgm:cxn modelId="{5A2659CE-2D4A-4D27-8AE9-3992C1A1A1F5}" type="presParOf" srcId="{7BE3E809-5A64-4B06-9786-B802267BEA78}" destId="{0F5736F5-91DF-49E6-9542-1715D3100BAB}" srcOrd="6" destOrd="0" presId="urn:microsoft.com/office/officeart/2005/8/layout/gear1"/>
    <dgm:cxn modelId="{832A2451-361D-4D68-9AEE-E688F728350D}" type="presParOf" srcId="{7BE3E809-5A64-4B06-9786-B802267BEA78}" destId="{0464CFED-3325-467F-8A41-28C035E38162}" srcOrd="7" destOrd="0" presId="urn:microsoft.com/office/officeart/2005/8/layout/gear1"/>
    <dgm:cxn modelId="{241889F1-BDD1-4A74-BB93-DCF4AA4D1B3F}" type="presParOf" srcId="{7BE3E809-5A64-4B06-9786-B802267BEA78}" destId="{9A24DCBB-FEAD-42FD-9AF8-A50379FC9C0C}" srcOrd="8" destOrd="0" presId="urn:microsoft.com/office/officeart/2005/8/layout/gear1"/>
    <dgm:cxn modelId="{4774BD6F-91CB-4D13-A485-2C38DA99DCE6}" type="presParOf" srcId="{7BE3E809-5A64-4B06-9786-B802267BEA78}" destId="{3F47450A-82EF-4497-AC93-F20E01D9EAAC}" srcOrd="9" destOrd="0" presId="urn:microsoft.com/office/officeart/2005/8/layout/gear1"/>
    <dgm:cxn modelId="{0F5EF110-FF6C-4246-AB56-997FC01B675C}" type="presParOf" srcId="{7BE3E809-5A64-4B06-9786-B802267BEA78}" destId="{A709413D-203F-42AC-BFB6-7EAE89CADA24}" srcOrd="10" destOrd="0" presId="urn:microsoft.com/office/officeart/2005/8/layout/gear1"/>
    <dgm:cxn modelId="{E0EC1D92-E9E2-4BFF-9E05-341849AC223A}" type="presParOf" srcId="{7BE3E809-5A64-4B06-9786-B802267BEA78}" destId="{0ED33573-A47B-40C8-991F-FE9621B1B65A}" srcOrd="11" destOrd="0" presId="urn:microsoft.com/office/officeart/2005/8/layout/gear1"/>
    <dgm:cxn modelId="{F5A6DA12-2257-4538-B4D6-DB128B142318}" type="presParOf" srcId="{7BE3E809-5A64-4B06-9786-B802267BEA78}" destId="{49D2DCD7-FD0A-409A-BFC2-1DF13CCCFF22}" srcOrd="12" destOrd="0" presId="urn:microsoft.com/office/officeart/2005/8/layout/gear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4A1FA0B-58FF-48E0-A85D-4E1DC61D1FED}"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IN"/>
        </a:p>
      </dgm:t>
    </dgm:pt>
    <dgm:pt modelId="{A41C5410-0091-4FC2-AB0C-900DE3006A1C}">
      <dgm:prSet phldrT="[Text]" custT="1"/>
      <dgm:spPr/>
      <dgm:t>
        <a:bodyPr/>
        <a:lstStyle/>
        <a:p>
          <a:r>
            <a:rPr lang="en-IN" sz="1000" dirty="0"/>
            <a:t>Chairman &amp; Managing Director</a:t>
          </a:r>
        </a:p>
      </dgm:t>
    </dgm:pt>
    <dgm:pt modelId="{C6891A48-7E72-44C9-A8C0-A7C43E407A48}" type="parTrans" cxnId="{73199DBE-4E7E-4EF4-8EE9-C7DA962C5949}">
      <dgm:prSet/>
      <dgm:spPr/>
      <dgm:t>
        <a:bodyPr/>
        <a:lstStyle/>
        <a:p>
          <a:endParaRPr lang="en-IN" sz="2800"/>
        </a:p>
      </dgm:t>
    </dgm:pt>
    <dgm:pt modelId="{888FAAC3-BF2F-4520-B43C-E1DE26BAC189}" type="sibTrans" cxnId="{73199DBE-4E7E-4EF4-8EE9-C7DA962C5949}">
      <dgm:prSet/>
      <dgm:spPr/>
      <dgm:t>
        <a:bodyPr/>
        <a:lstStyle/>
        <a:p>
          <a:endParaRPr lang="en-IN" sz="2800"/>
        </a:p>
      </dgm:t>
    </dgm:pt>
    <dgm:pt modelId="{C7C0326A-498B-4EA5-9440-719F5D8E10CF}">
      <dgm:prSet phldrT="[Text]" custT="1"/>
      <dgm:spPr/>
      <dgm:t>
        <a:bodyPr/>
        <a:lstStyle/>
        <a:p>
          <a:r>
            <a:rPr lang="en-IN" sz="1000" dirty="0"/>
            <a:t>Director Manufacturing</a:t>
          </a:r>
        </a:p>
      </dgm:t>
    </dgm:pt>
    <dgm:pt modelId="{0361C19C-8EAF-4E76-A350-75F4F2260A0C}" type="parTrans" cxnId="{01E1ED47-F77F-48CC-A7F6-4522C5BFE140}">
      <dgm:prSet custT="1"/>
      <dgm:spPr/>
      <dgm:t>
        <a:bodyPr/>
        <a:lstStyle/>
        <a:p>
          <a:endParaRPr lang="en-IN" sz="800"/>
        </a:p>
      </dgm:t>
    </dgm:pt>
    <dgm:pt modelId="{683883C1-3ECA-4BA4-8B8A-554B2E4D7C29}" type="sibTrans" cxnId="{01E1ED47-F77F-48CC-A7F6-4522C5BFE140}">
      <dgm:prSet/>
      <dgm:spPr/>
      <dgm:t>
        <a:bodyPr/>
        <a:lstStyle/>
        <a:p>
          <a:endParaRPr lang="en-IN" sz="2800"/>
        </a:p>
      </dgm:t>
    </dgm:pt>
    <dgm:pt modelId="{985F93BC-70F8-4D6D-B921-B499FD89EBB9}">
      <dgm:prSet phldrT="[Text]" custT="1"/>
      <dgm:spPr/>
      <dgm:t>
        <a:bodyPr/>
        <a:lstStyle/>
        <a:p>
          <a:r>
            <a:rPr lang="en-IN" sz="1000" dirty="0"/>
            <a:t>Head Accounts (F&amp; A)</a:t>
          </a:r>
        </a:p>
      </dgm:t>
    </dgm:pt>
    <dgm:pt modelId="{0B2D7813-E189-4E48-A50A-D22892789D6D}" type="parTrans" cxnId="{5D40E051-170B-4ACD-9BEC-4C30F953CF66}">
      <dgm:prSet custT="1"/>
      <dgm:spPr/>
      <dgm:t>
        <a:bodyPr/>
        <a:lstStyle/>
        <a:p>
          <a:endParaRPr lang="en-IN" sz="800"/>
        </a:p>
      </dgm:t>
    </dgm:pt>
    <dgm:pt modelId="{5B8BB346-810B-4AA6-A0A9-92EE87D7F4DE}" type="sibTrans" cxnId="{5D40E051-170B-4ACD-9BEC-4C30F953CF66}">
      <dgm:prSet/>
      <dgm:spPr/>
      <dgm:t>
        <a:bodyPr/>
        <a:lstStyle/>
        <a:p>
          <a:endParaRPr lang="en-IN" sz="2800"/>
        </a:p>
      </dgm:t>
    </dgm:pt>
    <dgm:pt modelId="{B94964DD-9C44-4B97-8A14-6A0B5707430D}">
      <dgm:prSet custT="1"/>
      <dgm:spPr/>
      <dgm:t>
        <a:bodyPr/>
        <a:lstStyle/>
        <a:p>
          <a:r>
            <a:rPr lang="en-IN" sz="1000" dirty="0"/>
            <a:t>R&amp;D, Operations, Technology, ADL</a:t>
          </a:r>
        </a:p>
      </dgm:t>
    </dgm:pt>
    <dgm:pt modelId="{7F9503C5-28C8-4C5C-95D2-FD85B96AF7AB}" type="parTrans" cxnId="{F6D42262-7CF7-4C96-9FEA-A3E8EC783ACE}">
      <dgm:prSet custT="1"/>
      <dgm:spPr/>
      <dgm:t>
        <a:bodyPr/>
        <a:lstStyle/>
        <a:p>
          <a:endParaRPr lang="en-IN" sz="800"/>
        </a:p>
      </dgm:t>
    </dgm:pt>
    <dgm:pt modelId="{93C24CC2-065F-4E07-8121-8BD2DFF6704D}" type="sibTrans" cxnId="{F6D42262-7CF7-4C96-9FEA-A3E8EC783ACE}">
      <dgm:prSet/>
      <dgm:spPr/>
      <dgm:t>
        <a:bodyPr/>
        <a:lstStyle/>
        <a:p>
          <a:endParaRPr lang="en-IN" sz="2800"/>
        </a:p>
      </dgm:t>
    </dgm:pt>
    <dgm:pt modelId="{A781D731-C063-4E7A-BF90-E72945185D50}">
      <dgm:prSet custT="1"/>
      <dgm:spPr/>
      <dgm:t>
        <a:bodyPr/>
        <a:lstStyle/>
        <a:p>
          <a:r>
            <a:rPr lang="en-IN" sz="1000" dirty="0"/>
            <a:t>GM Manufacturing </a:t>
          </a:r>
        </a:p>
      </dgm:t>
    </dgm:pt>
    <dgm:pt modelId="{9D922E1E-8A7C-44D9-958A-A780CB70BD83}" type="parTrans" cxnId="{E793C00F-169F-4772-99FF-8F45837989E8}">
      <dgm:prSet custT="1"/>
      <dgm:spPr/>
      <dgm:t>
        <a:bodyPr/>
        <a:lstStyle/>
        <a:p>
          <a:endParaRPr lang="en-IN" sz="800"/>
        </a:p>
      </dgm:t>
    </dgm:pt>
    <dgm:pt modelId="{23B2E8F1-3CAC-4D7E-ABC0-BB66C327643E}" type="sibTrans" cxnId="{E793C00F-169F-4772-99FF-8F45837989E8}">
      <dgm:prSet/>
      <dgm:spPr/>
      <dgm:t>
        <a:bodyPr/>
        <a:lstStyle/>
        <a:p>
          <a:endParaRPr lang="en-IN" sz="2800"/>
        </a:p>
      </dgm:t>
    </dgm:pt>
    <dgm:pt modelId="{8BFC5DA8-756D-4970-8D35-6A052CAC36CD}">
      <dgm:prSet custT="1"/>
      <dgm:spPr/>
      <dgm:t>
        <a:bodyPr/>
        <a:lstStyle/>
        <a:p>
          <a:r>
            <a:rPr lang="en-IN" sz="1000" dirty="0"/>
            <a:t>Sales, Marketing Strategy, Portfolio Management</a:t>
          </a:r>
        </a:p>
      </dgm:t>
    </dgm:pt>
    <dgm:pt modelId="{178E52EA-0C2E-4851-B7EA-1DA7C768C67E}" type="parTrans" cxnId="{E542B224-E641-4757-AFDD-C1DBAB70E2B7}">
      <dgm:prSet custT="1"/>
      <dgm:spPr/>
      <dgm:t>
        <a:bodyPr/>
        <a:lstStyle/>
        <a:p>
          <a:endParaRPr lang="en-IN" sz="800"/>
        </a:p>
      </dgm:t>
    </dgm:pt>
    <dgm:pt modelId="{3C386C40-4654-4EB0-B0AB-CA2F4BE40952}" type="sibTrans" cxnId="{E542B224-E641-4757-AFDD-C1DBAB70E2B7}">
      <dgm:prSet/>
      <dgm:spPr/>
      <dgm:t>
        <a:bodyPr/>
        <a:lstStyle/>
        <a:p>
          <a:endParaRPr lang="en-IN" sz="2800"/>
        </a:p>
      </dgm:t>
    </dgm:pt>
    <dgm:pt modelId="{8FA94225-D890-4DAD-8E5F-837F4E853E03}">
      <dgm:prSet custT="1"/>
      <dgm:spPr>
        <a:solidFill>
          <a:schemeClr val="accent3">
            <a:lumMod val="75000"/>
          </a:schemeClr>
        </a:solidFill>
      </dgm:spPr>
      <dgm:t>
        <a:bodyPr/>
        <a:lstStyle/>
        <a:p>
          <a:r>
            <a:rPr lang="en-IN" sz="1000" dirty="0"/>
            <a:t>Director Compliance</a:t>
          </a:r>
        </a:p>
      </dgm:t>
    </dgm:pt>
    <dgm:pt modelId="{C876145B-D31B-4BDD-9C02-2DD518530710}" type="parTrans" cxnId="{745C9A91-AC06-41B8-8DBA-B6876C0CA2FC}">
      <dgm:prSet custT="1"/>
      <dgm:spPr/>
      <dgm:t>
        <a:bodyPr/>
        <a:lstStyle/>
        <a:p>
          <a:endParaRPr lang="en-IN" sz="800"/>
        </a:p>
      </dgm:t>
    </dgm:pt>
    <dgm:pt modelId="{62826DBA-93BB-474C-A3B4-7267722FB57A}" type="sibTrans" cxnId="{745C9A91-AC06-41B8-8DBA-B6876C0CA2FC}">
      <dgm:prSet/>
      <dgm:spPr/>
      <dgm:t>
        <a:bodyPr/>
        <a:lstStyle/>
        <a:p>
          <a:endParaRPr lang="en-IN" sz="2800"/>
        </a:p>
      </dgm:t>
    </dgm:pt>
    <dgm:pt modelId="{74DDBAF1-9952-463A-9D22-92498662CD19}">
      <dgm:prSet custT="1"/>
      <dgm:spPr>
        <a:solidFill>
          <a:schemeClr val="accent3">
            <a:lumMod val="75000"/>
          </a:schemeClr>
        </a:solidFill>
      </dgm:spPr>
      <dgm:t>
        <a:bodyPr/>
        <a:lstStyle/>
        <a:p>
          <a:r>
            <a:rPr lang="en-IN" sz="1000" dirty="0"/>
            <a:t>ADL</a:t>
          </a:r>
        </a:p>
      </dgm:t>
    </dgm:pt>
    <dgm:pt modelId="{C5F13DBA-011D-4F7B-8E4F-2960C3B47A4E}" type="parTrans" cxnId="{CDC379ED-26D9-4476-9D91-484B25302943}">
      <dgm:prSet custT="1"/>
      <dgm:spPr/>
      <dgm:t>
        <a:bodyPr/>
        <a:lstStyle/>
        <a:p>
          <a:endParaRPr lang="en-IN" sz="800"/>
        </a:p>
      </dgm:t>
    </dgm:pt>
    <dgm:pt modelId="{6E7F97B1-CFD0-4F0A-A613-055FFB454F7F}" type="sibTrans" cxnId="{CDC379ED-26D9-4476-9D91-484B25302943}">
      <dgm:prSet/>
      <dgm:spPr/>
      <dgm:t>
        <a:bodyPr/>
        <a:lstStyle/>
        <a:p>
          <a:endParaRPr lang="en-IN" sz="2800"/>
        </a:p>
      </dgm:t>
    </dgm:pt>
    <dgm:pt modelId="{B4FA93FC-93BC-4570-AA64-C7E92EC10118}">
      <dgm:prSet custT="1"/>
      <dgm:spPr>
        <a:solidFill>
          <a:schemeClr val="accent3">
            <a:lumMod val="75000"/>
          </a:schemeClr>
        </a:solidFill>
      </dgm:spPr>
      <dgm:t>
        <a:bodyPr/>
        <a:lstStyle/>
        <a:p>
          <a:r>
            <a:rPr lang="en-IN" sz="1050" dirty="0"/>
            <a:t>Supply Chain  </a:t>
          </a:r>
        </a:p>
      </dgm:t>
    </dgm:pt>
    <dgm:pt modelId="{43448539-1217-4DC9-A7E1-DC29C3E6E194}" type="parTrans" cxnId="{3C050412-59FA-4A04-A4A7-2390A5D372A8}">
      <dgm:prSet custT="1"/>
      <dgm:spPr/>
      <dgm:t>
        <a:bodyPr/>
        <a:lstStyle/>
        <a:p>
          <a:endParaRPr lang="en-IN" sz="800"/>
        </a:p>
      </dgm:t>
    </dgm:pt>
    <dgm:pt modelId="{F8577E10-E956-405E-8D2C-BD2925BB525F}" type="sibTrans" cxnId="{3C050412-59FA-4A04-A4A7-2390A5D372A8}">
      <dgm:prSet/>
      <dgm:spPr/>
      <dgm:t>
        <a:bodyPr/>
        <a:lstStyle/>
        <a:p>
          <a:endParaRPr lang="en-IN" sz="2800"/>
        </a:p>
      </dgm:t>
    </dgm:pt>
    <dgm:pt modelId="{389D07AD-5BE0-4101-AD54-142E697CF54F}">
      <dgm:prSet custT="1"/>
      <dgm:spPr/>
      <dgm:t>
        <a:bodyPr/>
        <a:lstStyle/>
        <a:p>
          <a:r>
            <a:rPr lang="en-IN" sz="1000" dirty="0"/>
            <a:t>GM Engineering </a:t>
          </a:r>
        </a:p>
      </dgm:t>
    </dgm:pt>
    <dgm:pt modelId="{1803EC85-9E9B-419D-A410-3022816E72B3}" type="parTrans" cxnId="{F4F1B441-09A5-40C2-9667-33E7F8AE9721}">
      <dgm:prSet custT="1"/>
      <dgm:spPr/>
      <dgm:t>
        <a:bodyPr/>
        <a:lstStyle/>
        <a:p>
          <a:endParaRPr lang="en-IN" sz="800"/>
        </a:p>
      </dgm:t>
    </dgm:pt>
    <dgm:pt modelId="{682ECFFF-2D48-4814-8081-6F9710AAEDF5}" type="sibTrans" cxnId="{F4F1B441-09A5-40C2-9667-33E7F8AE9721}">
      <dgm:prSet/>
      <dgm:spPr/>
      <dgm:t>
        <a:bodyPr/>
        <a:lstStyle/>
        <a:p>
          <a:endParaRPr lang="en-IN" sz="2800"/>
        </a:p>
      </dgm:t>
    </dgm:pt>
    <dgm:pt modelId="{4751E85E-8EB5-4D00-884F-3934A85ED974}">
      <dgm:prSe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IN" sz="1000" dirty="0"/>
            <a:t>GM Works </a:t>
          </a:r>
        </a:p>
        <a:p>
          <a:pPr marL="0" lvl="0" defTabSz="533400">
            <a:lnSpc>
              <a:spcPct val="90000"/>
            </a:lnSpc>
            <a:spcBef>
              <a:spcPct val="0"/>
            </a:spcBef>
            <a:spcAft>
              <a:spcPct val="35000"/>
            </a:spcAft>
            <a:buNone/>
          </a:pPr>
          <a:endParaRPr lang="en-IN" sz="1000" dirty="0"/>
        </a:p>
      </dgm:t>
    </dgm:pt>
    <dgm:pt modelId="{61561191-B78F-4453-8DBB-676B271A523D}" type="parTrans" cxnId="{4B2BD458-7898-4083-8375-DDB17A868F4B}">
      <dgm:prSet/>
      <dgm:spPr/>
      <dgm:t>
        <a:bodyPr/>
        <a:lstStyle/>
        <a:p>
          <a:endParaRPr lang="en-IN"/>
        </a:p>
      </dgm:t>
    </dgm:pt>
    <dgm:pt modelId="{A6D2B80C-8B45-4155-92B5-777DA0D1DEB1}" type="sibTrans" cxnId="{4B2BD458-7898-4083-8375-DDB17A868F4B}">
      <dgm:prSet/>
      <dgm:spPr/>
      <dgm:t>
        <a:bodyPr/>
        <a:lstStyle/>
        <a:p>
          <a:endParaRPr lang="en-IN"/>
        </a:p>
      </dgm:t>
    </dgm:pt>
    <dgm:pt modelId="{1646A6A2-CC76-4F2A-B3B0-3FF7B43EEBFB}">
      <dgm:prSet custT="1"/>
      <dgm:spPr>
        <a:solidFill>
          <a:schemeClr val="accent3">
            <a:lumMod val="75000"/>
          </a:schemeClr>
        </a:solidFill>
      </dgm:spPr>
      <dgm:t>
        <a:bodyPr/>
        <a:lstStyle/>
        <a:p>
          <a:r>
            <a:rPr lang="en-IN" sz="1000" dirty="0"/>
            <a:t>QC</a:t>
          </a:r>
        </a:p>
      </dgm:t>
    </dgm:pt>
    <dgm:pt modelId="{82DB9DBB-6336-4F54-B925-0DE261B8ACD1}" type="parTrans" cxnId="{69D95CD3-408F-41C0-A554-CCD06ABD61E4}">
      <dgm:prSet/>
      <dgm:spPr/>
      <dgm:t>
        <a:bodyPr/>
        <a:lstStyle/>
        <a:p>
          <a:endParaRPr lang="en-IN"/>
        </a:p>
      </dgm:t>
    </dgm:pt>
    <dgm:pt modelId="{15016034-FCA2-4939-BFDE-0D60FBB0FF28}" type="sibTrans" cxnId="{69D95CD3-408F-41C0-A554-CCD06ABD61E4}">
      <dgm:prSet/>
      <dgm:spPr/>
      <dgm:t>
        <a:bodyPr/>
        <a:lstStyle/>
        <a:p>
          <a:endParaRPr lang="en-IN"/>
        </a:p>
      </dgm:t>
    </dgm:pt>
    <dgm:pt modelId="{85B04B81-44CB-4A00-A053-FA790D33CF5B}">
      <dgm:prSet custT="1"/>
      <dgm:spPr>
        <a:solidFill>
          <a:schemeClr val="accent3">
            <a:lumMod val="75000"/>
          </a:schemeClr>
        </a:solidFill>
      </dgm:spPr>
      <dgm:t>
        <a:bodyPr/>
        <a:lstStyle/>
        <a:p>
          <a:r>
            <a:rPr lang="en-IN" sz="1050" dirty="0"/>
            <a:t>QA</a:t>
          </a:r>
        </a:p>
      </dgm:t>
    </dgm:pt>
    <dgm:pt modelId="{F5C2D7BA-E427-4308-9120-81F49CD8D0B2}" type="parTrans" cxnId="{EF71AB03-BD0D-45AC-87B2-04AE706DE9BF}">
      <dgm:prSet/>
      <dgm:spPr/>
      <dgm:t>
        <a:bodyPr/>
        <a:lstStyle/>
        <a:p>
          <a:endParaRPr lang="en-IN"/>
        </a:p>
      </dgm:t>
    </dgm:pt>
    <dgm:pt modelId="{7EE78927-75A8-4252-85F9-F4A09FBE6A04}" type="sibTrans" cxnId="{EF71AB03-BD0D-45AC-87B2-04AE706DE9BF}">
      <dgm:prSet/>
      <dgm:spPr/>
      <dgm:t>
        <a:bodyPr/>
        <a:lstStyle/>
        <a:p>
          <a:endParaRPr lang="en-IN"/>
        </a:p>
      </dgm:t>
    </dgm:pt>
    <dgm:pt modelId="{FF164696-F258-4F03-8E91-5339E30C37AF}">
      <dgm:prSet custT="1"/>
      <dgm:spPr/>
      <dgm:t>
        <a:bodyPr/>
        <a:lstStyle/>
        <a:p>
          <a:r>
            <a:rPr lang="en-IN" sz="1000" kern="1200" dirty="0">
              <a:solidFill>
                <a:prstClr val="white"/>
              </a:solidFill>
              <a:latin typeface="Tahoma"/>
              <a:ea typeface="+mn-ea"/>
              <a:cs typeface="+mn-cs"/>
            </a:rPr>
            <a:t>Stores</a:t>
          </a:r>
        </a:p>
      </dgm:t>
    </dgm:pt>
    <dgm:pt modelId="{5E0F84CF-0AB0-4613-9EF3-0006080269CF}" type="parTrans" cxnId="{666E25DD-364E-4D5C-8EE9-A0693DBE500E}">
      <dgm:prSet/>
      <dgm:spPr/>
      <dgm:t>
        <a:bodyPr/>
        <a:lstStyle/>
        <a:p>
          <a:endParaRPr lang="en-IN"/>
        </a:p>
      </dgm:t>
    </dgm:pt>
    <dgm:pt modelId="{11EEE3FB-9859-45E0-8D7D-91BBA9B35136}" type="sibTrans" cxnId="{666E25DD-364E-4D5C-8EE9-A0693DBE500E}">
      <dgm:prSet/>
      <dgm:spPr/>
      <dgm:t>
        <a:bodyPr/>
        <a:lstStyle/>
        <a:p>
          <a:endParaRPr lang="en-IN"/>
        </a:p>
      </dgm:t>
    </dgm:pt>
    <dgm:pt modelId="{25630D53-5798-43AD-9234-3BE9CD5EC071}">
      <dgm:prSet custT="1"/>
      <dgm:spPr/>
      <dgm:t>
        <a:bodyPr/>
        <a:lstStyle/>
        <a:p>
          <a:r>
            <a:rPr lang="en-IN" sz="1200" dirty="0"/>
            <a:t>HSE</a:t>
          </a:r>
        </a:p>
      </dgm:t>
    </dgm:pt>
    <dgm:pt modelId="{1846665B-A0FC-4FF9-B40B-9883DF0A7497}" type="parTrans" cxnId="{A07347B8-5621-489C-A479-8AA2EEF33C27}">
      <dgm:prSet/>
      <dgm:spPr/>
      <dgm:t>
        <a:bodyPr/>
        <a:lstStyle/>
        <a:p>
          <a:endParaRPr lang="en-IN"/>
        </a:p>
      </dgm:t>
    </dgm:pt>
    <dgm:pt modelId="{FACB75B7-489C-4CAD-9888-6B6BC7B8E639}" type="sibTrans" cxnId="{A07347B8-5621-489C-A479-8AA2EEF33C27}">
      <dgm:prSet/>
      <dgm:spPr/>
      <dgm:t>
        <a:bodyPr/>
        <a:lstStyle/>
        <a:p>
          <a:endParaRPr lang="en-IN"/>
        </a:p>
      </dgm:t>
    </dgm:pt>
    <dgm:pt modelId="{490EFAFB-B2AB-4C58-976A-314B40ED094E}">
      <dgm:prSet custT="1"/>
      <dgm:spPr/>
      <dgm:t>
        <a:bodyPr/>
        <a:lstStyle/>
        <a:p>
          <a:r>
            <a:rPr lang="en-IN" sz="1200" dirty="0"/>
            <a:t>HR &amp; Admin</a:t>
          </a:r>
        </a:p>
      </dgm:t>
    </dgm:pt>
    <dgm:pt modelId="{2A72AC1D-A91A-48C7-A56C-97EE5612D1EB}" type="parTrans" cxnId="{46AA5BEA-ED22-4948-9D9F-4400FE95F019}">
      <dgm:prSet/>
      <dgm:spPr/>
      <dgm:t>
        <a:bodyPr/>
        <a:lstStyle/>
        <a:p>
          <a:endParaRPr lang="en-IN"/>
        </a:p>
      </dgm:t>
    </dgm:pt>
    <dgm:pt modelId="{B2D53FB4-4AC9-4DC4-9601-E4590DAA47A8}" type="sibTrans" cxnId="{46AA5BEA-ED22-4948-9D9F-4400FE95F019}">
      <dgm:prSet/>
      <dgm:spPr/>
      <dgm:t>
        <a:bodyPr/>
        <a:lstStyle/>
        <a:p>
          <a:endParaRPr lang="en-IN"/>
        </a:p>
      </dgm:t>
    </dgm:pt>
    <dgm:pt modelId="{7109C632-B913-4E4C-A161-5503B130F0C2}">
      <dgm:prSet phldrT="[Text]" custT="1"/>
      <dgm:spPr/>
      <dgm:t>
        <a:bodyPr/>
        <a:lstStyle/>
        <a:p>
          <a:r>
            <a:rPr lang="en-IN" sz="1000" dirty="0"/>
            <a:t>Joint Managing Director</a:t>
          </a:r>
        </a:p>
      </dgm:t>
    </dgm:pt>
    <dgm:pt modelId="{78FE6451-A544-4B8F-A5DF-67B5FEA6B9FC}" type="sibTrans" cxnId="{A7700826-7214-4F79-81A1-669399C83E49}">
      <dgm:prSet/>
      <dgm:spPr/>
      <dgm:t>
        <a:bodyPr/>
        <a:lstStyle/>
        <a:p>
          <a:endParaRPr lang="en-IN" sz="2800"/>
        </a:p>
      </dgm:t>
    </dgm:pt>
    <dgm:pt modelId="{8AD23AA5-358F-4A85-B202-463D2943CA75}" type="parTrans" cxnId="{A7700826-7214-4F79-81A1-669399C83E49}">
      <dgm:prSet custT="1"/>
      <dgm:spPr/>
      <dgm:t>
        <a:bodyPr/>
        <a:lstStyle/>
        <a:p>
          <a:endParaRPr lang="en-IN" sz="800"/>
        </a:p>
      </dgm:t>
    </dgm:pt>
    <dgm:pt modelId="{A21ABAF8-A113-4DC0-A467-F86D1E457853}" type="pres">
      <dgm:prSet presAssocID="{54A1FA0B-58FF-48E0-A85D-4E1DC61D1FED}" presName="Name0" presStyleCnt="0">
        <dgm:presLayoutVars>
          <dgm:chPref val="1"/>
          <dgm:dir/>
          <dgm:animOne val="branch"/>
          <dgm:animLvl val="lvl"/>
          <dgm:resizeHandles val="exact"/>
        </dgm:presLayoutVars>
      </dgm:prSet>
      <dgm:spPr/>
    </dgm:pt>
    <dgm:pt modelId="{99B3A049-AD39-4FA8-8ACA-ACB1C6EC2439}" type="pres">
      <dgm:prSet presAssocID="{A41C5410-0091-4FC2-AB0C-900DE3006A1C}" presName="root1" presStyleCnt="0"/>
      <dgm:spPr/>
    </dgm:pt>
    <dgm:pt modelId="{E589B3FA-F31D-4360-A2B4-140845281945}" type="pres">
      <dgm:prSet presAssocID="{A41C5410-0091-4FC2-AB0C-900DE3006A1C}" presName="LevelOneTextNode" presStyleLbl="node0" presStyleIdx="0" presStyleCnt="1" custScaleY="169949">
        <dgm:presLayoutVars>
          <dgm:chPref val="3"/>
        </dgm:presLayoutVars>
      </dgm:prSet>
      <dgm:spPr/>
    </dgm:pt>
    <dgm:pt modelId="{7732C83D-7E30-4977-B710-73F501AAB31E}" type="pres">
      <dgm:prSet presAssocID="{A41C5410-0091-4FC2-AB0C-900DE3006A1C}" presName="level2hierChild" presStyleCnt="0"/>
      <dgm:spPr/>
    </dgm:pt>
    <dgm:pt modelId="{E085A80C-5CFB-48C4-99B2-D6D376C04826}" type="pres">
      <dgm:prSet presAssocID="{8AD23AA5-358F-4A85-B202-463D2943CA75}" presName="conn2-1" presStyleLbl="parChTrans1D2" presStyleIdx="0" presStyleCnt="5"/>
      <dgm:spPr/>
    </dgm:pt>
    <dgm:pt modelId="{6528EDF7-A7BB-44DC-9FD0-61EE51E019B1}" type="pres">
      <dgm:prSet presAssocID="{8AD23AA5-358F-4A85-B202-463D2943CA75}" presName="connTx" presStyleLbl="parChTrans1D2" presStyleIdx="0" presStyleCnt="5"/>
      <dgm:spPr/>
    </dgm:pt>
    <dgm:pt modelId="{E3689C5E-C36B-4717-BE63-AB9DDC365FE8}" type="pres">
      <dgm:prSet presAssocID="{7109C632-B913-4E4C-A161-5503B130F0C2}" presName="root2" presStyleCnt="0"/>
      <dgm:spPr/>
    </dgm:pt>
    <dgm:pt modelId="{AAA3FC0D-B3C7-455D-8F5A-6F8C59B7F0B4}" type="pres">
      <dgm:prSet presAssocID="{7109C632-B913-4E4C-A161-5503B130F0C2}" presName="LevelTwoTextNode" presStyleLbl="node2" presStyleIdx="0" presStyleCnt="5">
        <dgm:presLayoutVars>
          <dgm:chPref val="3"/>
        </dgm:presLayoutVars>
      </dgm:prSet>
      <dgm:spPr/>
    </dgm:pt>
    <dgm:pt modelId="{82A49651-D6DC-410D-9E3E-58B613E39FB5}" type="pres">
      <dgm:prSet presAssocID="{7109C632-B913-4E4C-A161-5503B130F0C2}" presName="level3hierChild" presStyleCnt="0"/>
      <dgm:spPr/>
    </dgm:pt>
    <dgm:pt modelId="{BBF2C805-17D2-4DC8-B5E3-47D725742B7F}" type="pres">
      <dgm:prSet presAssocID="{7F9503C5-28C8-4C5C-95D2-FD85B96AF7AB}" presName="conn2-1" presStyleLbl="parChTrans1D3" presStyleIdx="0" presStyleCnt="8"/>
      <dgm:spPr/>
    </dgm:pt>
    <dgm:pt modelId="{3C6183BC-FB2C-4EC1-92D7-265B741142D3}" type="pres">
      <dgm:prSet presAssocID="{7F9503C5-28C8-4C5C-95D2-FD85B96AF7AB}" presName="connTx" presStyleLbl="parChTrans1D3" presStyleIdx="0" presStyleCnt="8"/>
      <dgm:spPr/>
    </dgm:pt>
    <dgm:pt modelId="{885A491E-5EF2-450E-AD73-6C3413DB2044}" type="pres">
      <dgm:prSet presAssocID="{B94964DD-9C44-4B97-8A14-6A0B5707430D}" presName="root2" presStyleCnt="0"/>
      <dgm:spPr/>
    </dgm:pt>
    <dgm:pt modelId="{DBCD6FB0-C2DE-4902-96DF-C9A6BE941B6F}" type="pres">
      <dgm:prSet presAssocID="{B94964DD-9C44-4B97-8A14-6A0B5707430D}" presName="LevelTwoTextNode" presStyleLbl="node3" presStyleIdx="0" presStyleCnt="8" custScaleX="189923">
        <dgm:presLayoutVars>
          <dgm:chPref val="3"/>
        </dgm:presLayoutVars>
      </dgm:prSet>
      <dgm:spPr/>
    </dgm:pt>
    <dgm:pt modelId="{BB41CA47-7C73-48D5-BEDB-5C1A4E07870A}" type="pres">
      <dgm:prSet presAssocID="{B94964DD-9C44-4B97-8A14-6A0B5707430D}" presName="level3hierChild" presStyleCnt="0"/>
      <dgm:spPr/>
    </dgm:pt>
    <dgm:pt modelId="{2E1E22E1-C9B0-4ED5-BA31-2D60EC78FF4D}" type="pres">
      <dgm:prSet presAssocID="{178E52EA-0C2E-4851-B7EA-1DA7C768C67E}" presName="conn2-1" presStyleLbl="parChTrans1D2" presStyleIdx="1" presStyleCnt="5"/>
      <dgm:spPr/>
    </dgm:pt>
    <dgm:pt modelId="{BBFCD262-C7A5-4D1A-A5FD-06F6FA06F95B}" type="pres">
      <dgm:prSet presAssocID="{178E52EA-0C2E-4851-B7EA-1DA7C768C67E}" presName="connTx" presStyleLbl="parChTrans1D2" presStyleIdx="1" presStyleCnt="5"/>
      <dgm:spPr/>
    </dgm:pt>
    <dgm:pt modelId="{AA2BE0B2-C259-4E5C-8B8B-D7180D0AF373}" type="pres">
      <dgm:prSet presAssocID="{8BFC5DA8-756D-4970-8D35-6A052CAC36CD}" presName="root2" presStyleCnt="0"/>
      <dgm:spPr/>
    </dgm:pt>
    <dgm:pt modelId="{E25480DD-CA4A-450B-8249-9F0D8041BB28}" type="pres">
      <dgm:prSet presAssocID="{8BFC5DA8-756D-4970-8D35-6A052CAC36CD}" presName="LevelTwoTextNode" presStyleLbl="node2" presStyleIdx="1" presStyleCnt="5" custScaleX="219698">
        <dgm:presLayoutVars>
          <dgm:chPref val="3"/>
        </dgm:presLayoutVars>
      </dgm:prSet>
      <dgm:spPr/>
    </dgm:pt>
    <dgm:pt modelId="{73938E62-AAF8-49EE-B607-532A1A853374}" type="pres">
      <dgm:prSet presAssocID="{8BFC5DA8-756D-4970-8D35-6A052CAC36CD}" presName="level3hierChild" presStyleCnt="0"/>
      <dgm:spPr/>
    </dgm:pt>
    <dgm:pt modelId="{CF8F6304-0777-4129-B071-A9BDB9AC4FF3}" type="pres">
      <dgm:prSet presAssocID="{0B2D7813-E189-4E48-A50A-D22892789D6D}" presName="conn2-1" presStyleLbl="parChTrans1D2" presStyleIdx="2" presStyleCnt="5"/>
      <dgm:spPr/>
    </dgm:pt>
    <dgm:pt modelId="{0C9E4D8C-437F-44C5-9015-190B665B19DD}" type="pres">
      <dgm:prSet presAssocID="{0B2D7813-E189-4E48-A50A-D22892789D6D}" presName="connTx" presStyleLbl="parChTrans1D2" presStyleIdx="2" presStyleCnt="5"/>
      <dgm:spPr/>
    </dgm:pt>
    <dgm:pt modelId="{DE254FA5-1425-4B42-8D4B-BE41894CE951}" type="pres">
      <dgm:prSet presAssocID="{985F93BC-70F8-4D6D-B921-B499FD89EBB9}" presName="root2" presStyleCnt="0"/>
      <dgm:spPr/>
    </dgm:pt>
    <dgm:pt modelId="{965A06B0-48F4-43A6-ADD2-1E7ABE1821B4}" type="pres">
      <dgm:prSet presAssocID="{985F93BC-70F8-4D6D-B921-B499FD89EBB9}" presName="LevelTwoTextNode" presStyleLbl="node2" presStyleIdx="2" presStyleCnt="5">
        <dgm:presLayoutVars>
          <dgm:chPref val="3"/>
        </dgm:presLayoutVars>
      </dgm:prSet>
      <dgm:spPr/>
    </dgm:pt>
    <dgm:pt modelId="{6ACCB1A2-FE30-434D-BE8E-71C3745A7C45}" type="pres">
      <dgm:prSet presAssocID="{985F93BC-70F8-4D6D-B921-B499FD89EBB9}" presName="level3hierChild" presStyleCnt="0"/>
      <dgm:spPr/>
    </dgm:pt>
    <dgm:pt modelId="{10065D86-6EE3-4102-A9A2-9ADAD6F89481}" type="pres">
      <dgm:prSet presAssocID="{0361C19C-8EAF-4E76-A350-75F4F2260A0C}" presName="conn2-1" presStyleLbl="parChTrans1D2" presStyleIdx="3" presStyleCnt="5"/>
      <dgm:spPr/>
    </dgm:pt>
    <dgm:pt modelId="{469CEF6C-0A52-4E0D-9B1B-70794A75AF34}" type="pres">
      <dgm:prSet presAssocID="{0361C19C-8EAF-4E76-A350-75F4F2260A0C}" presName="connTx" presStyleLbl="parChTrans1D2" presStyleIdx="3" presStyleCnt="5"/>
      <dgm:spPr/>
    </dgm:pt>
    <dgm:pt modelId="{27F5A426-9733-47EA-94DB-C772E751320D}" type="pres">
      <dgm:prSet presAssocID="{C7C0326A-498B-4EA5-9440-719F5D8E10CF}" presName="root2" presStyleCnt="0"/>
      <dgm:spPr/>
    </dgm:pt>
    <dgm:pt modelId="{1526E125-DA56-4639-B3BC-384DE375F35C}" type="pres">
      <dgm:prSet presAssocID="{C7C0326A-498B-4EA5-9440-719F5D8E10CF}" presName="LevelTwoTextNode" presStyleLbl="node2" presStyleIdx="3" presStyleCnt="5">
        <dgm:presLayoutVars>
          <dgm:chPref val="3"/>
        </dgm:presLayoutVars>
      </dgm:prSet>
      <dgm:spPr/>
    </dgm:pt>
    <dgm:pt modelId="{B2F29009-826D-4438-B1E0-AA89D18ABA41}" type="pres">
      <dgm:prSet presAssocID="{C7C0326A-498B-4EA5-9440-719F5D8E10CF}" presName="level3hierChild" presStyleCnt="0"/>
      <dgm:spPr/>
    </dgm:pt>
    <dgm:pt modelId="{19EF9AD3-5FD6-4D1C-B3A9-52D39D1C5BE1}" type="pres">
      <dgm:prSet presAssocID="{9D922E1E-8A7C-44D9-958A-A780CB70BD83}" presName="conn2-1" presStyleLbl="parChTrans1D3" presStyleIdx="1" presStyleCnt="8"/>
      <dgm:spPr/>
    </dgm:pt>
    <dgm:pt modelId="{CDF34926-F295-4E91-9EB5-F915FCACB496}" type="pres">
      <dgm:prSet presAssocID="{9D922E1E-8A7C-44D9-958A-A780CB70BD83}" presName="connTx" presStyleLbl="parChTrans1D3" presStyleIdx="1" presStyleCnt="8"/>
      <dgm:spPr/>
    </dgm:pt>
    <dgm:pt modelId="{588669CB-1977-4065-AEEE-FE48DC092619}" type="pres">
      <dgm:prSet presAssocID="{A781D731-C063-4E7A-BF90-E72945185D50}" presName="root2" presStyleCnt="0"/>
      <dgm:spPr/>
    </dgm:pt>
    <dgm:pt modelId="{B38EB279-E80D-4AD4-9C62-5D90B36B9284}" type="pres">
      <dgm:prSet presAssocID="{A781D731-C063-4E7A-BF90-E72945185D50}" presName="LevelTwoTextNode" presStyleLbl="node3" presStyleIdx="1" presStyleCnt="8">
        <dgm:presLayoutVars>
          <dgm:chPref val="3"/>
        </dgm:presLayoutVars>
      </dgm:prSet>
      <dgm:spPr/>
    </dgm:pt>
    <dgm:pt modelId="{47E7813B-C75A-4622-B125-3BA920C13864}" type="pres">
      <dgm:prSet presAssocID="{A781D731-C063-4E7A-BF90-E72945185D50}" presName="level3hierChild" presStyleCnt="0"/>
      <dgm:spPr/>
    </dgm:pt>
    <dgm:pt modelId="{98E3291E-7029-4963-B075-905A3389F451}" type="pres">
      <dgm:prSet presAssocID="{61561191-B78F-4453-8DBB-676B271A523D}" presName="conn2-1" presStyleLbl="parChTrans1D3" presStyleIdx="2" presStyleCnt="8"/>
      <dgm:spPr/>
    </dgm:pt>
    <dgm:pt modelId="{7DC15490-470C-48D6-AC56-31E76E845593}" type="pres">
      <dgm:prSet presAssocID="{61561191-B78F-4453-8DBB-676B271A523D}" presName="connTx" presStyleLbl="parChTrans1D3" presStyleIdx="2" presStyleCnt="8"/>
      <dgm:spPr/>
    </dgm:pt>
    <dgm:pt modelId="{10A8EA58-CB4B-41C6-B7B4-07291B615DC3}" type="pres">
      <dgm:prSet presAssocID="{4751E85E-8EB5-4D00-884F-3934A85ED974}" presName="root2" presStyleCnt="0"/>
      <dgm:spPr/>
    </dgm:pt>
    <dgm:pt modelId="{B4D36503-C9B1-4DC2-A75D-9C86EDCEDC7A}" type="pres">
      <dgm:prSet presAssocID="{4751E85E-8EB5-4D00-884F-3934A85ED974}" presName="LevelTwoTextNode" presStyleLbl="node3" presStyleIdx="2" presStyleCnt="8">
        <dgm:presLayoutVars>
          <dgm:chPref val="3"/>
        </dgm:presLayoutVars>
      </dgm:prSet>
      <dgm:spPr/>
    </dgm:pt>
    <dgm:pt modelId="{90ACD4A7-8D0C-4CCE-A46B-C3120195CC86}" type="pres">
      <dgm:prSet presAssocID="{4751E85E-8EB5-4D00-884F-3934A85ED974}" presName="level3hierChild" presStyleCnt="0"/>
      <dgm:spPr/>
    </dgm:pt>
    <dgm:pt modelId="{72C81662-F6ED-4F54-BDBB-E09F84BC452C}" type="pres">
      <dgm:prSet presAssocID="{5E0F84CF-0AB0-4613-9EF3-0006080269CF}" presName="conn2-1" presStyleLbl="parChTrans1D4" presStyleIdx="0" presStyleCnt="3"/>
      <dgm:spPr/>
    </dgm:pt>
    <dgm:pt modelId="{C960DED6-80E1-4E3F-9A1B-EA64B97FF139}" type="pres">
      <dgm:prSet presAssocID="{5E0F84CF-0AB0-4613-9EF3-0006080269CF}" presName="connTx" presStyleLbl="parChTrans1D4" presStyleIdx="0" presStyleCnt="3"/>
      <dgm:spPr/>
    </dgm:pt>
    <dgm:pt modelId="{F6EF19FE-8591-4708-9479-BB8A021D48A8}" type="pres">
      <dgm:prSet presAssocID="{FF164696-F258-4F03-8E91-5339E30C37AF}" presName="root2" presStyleCnt="0"/>
      <dgm:spPr/>
    </dgm:pt>
    <dgm:pt modelId="{53FA902C-1915-4D1D-8BC5-736E515412DB}" type="pres">
      <dgm:prSet presAssocID="{FF164696-F258-4F03-8E91-5339E30C37AF}" presName="LevelTwoTextNode" presStyleLbl="node4" presStyleIdx="0" presStyleCnt="3">
        <dgm:presLayoutVars>
          <dgm:chPref val="3"/>
        </dgm:presLayoutVars>
      </dgm:prSet>
      <dgm:spPr/>
    </dgm:pt>
    <dgm:pt modelId="{21FA0C71-C31D-462A-84F5-B5C2AA9076E7}" type="pres">
      <dgm:prSet presAssocID="{FF164696-F258-4F03-8E91-5339E30C37AF}" presName="level3hierChild" presStyleCnt="0"/>
      <dgm:spPr/>
    </dgm:pt>
    <dgm:pt modelId="{92A5F87C-49DE-44DE-8F08-B57ADC116640}" type="pres">
      <dgm:prSet presAssocID="{1846665B-A0FC-4FF9-B40B-9883DF0A7497}" presName="conn2-1" presStyleLbl="parChTrans1D4" presStyleIdx="1" presStyleCnt="3"/>
      <dgm:spPr/>
    </dgm:pt>
    <dgm:pt modelId="{62EA3426-BA05-43A9-9E5A-0A7BBB50879B}" type="pres">
      <dgm:prSet presAssocID="{1846665B-A0FC-4FF9-B40B-9883DF0A7497}" presName="connTx" presStyleLbl="parChTrans1D4" presStyleIdx="1" presStyleCnt="3"/>
      <dgm:spPr/>
    </dgm:pt>
    <dgm:pt modelId="{9CCA3776-DB08-4E6A-9906-73AF1D3E3F6A}" type="pres">
      <dgm:prSet presAssocID="{25630D53-5798-43AD-9234-3BE9CD5EC071}" presName="root2" presStyleCnt="0"/>
      <dgm:spPr/>
    </dgm:pt>
    <dgm:pt modelId="{6BF3AEA1-BAC3-4443-AD86-7276E699A2D7}" type="pres">
      <dgm:prSet presAssocID="{25630D53-5798-43AD-9234-3BE9CD5EC071}" presName="LevelTwoTextNode" presStyleLbl="node4" presStyleIdx="1" presStyleCnt="3">
        <dgm:presLayoutVars>
          <dgm:chPref val="3"/>
        </dgm:presLayoutVars>
      </dgm:prSet>
      <dgm:spPr/>
    </dgm:pt>
    <dgm:pt modelId="{4528DEA2-F33D-4629-84CD-96CF5DB058CC}" type="pres">
      <dgm:prSet presAssocID="{25630D53-5798-43AD-9234-3BE9CD5EC071}" presName="level3hierChild" presStyleCnt="0"/>
      <dgm:spPr/>
    </dgm:pt>
    <dgm:pt modelId="{A54E28A5-F11F-44A7-A793-BB330E707504}" type="pres">
      <dgm:prSet presAssocID="{2A72AC1D-A91A-48C7-A56C-97EE5612D1EB}" presName="conn2-1" presStyleLbl="parChTrans1D4" presStyleIdx="2" presStyleCnt="3"/>
      <dgm:spPr/>
    </dgm:pt>
    <dgm:pt modelId="{019E5118-0E31-4420-8D79-8E88CFA12D3D}" type="pres">
      <dgm:prSet presAssocID="{2A72AC1D-A91A-48C7-A56C-97EE5612D1EB}" presName="connTx" presStyleLbl="parChTrans1D4" presStyleIdx="2" presStyleCnt="3"/>
      <dgm:spPr/>
    </dgm:pt>
    <dgm:pt modelId="{5F8DED7C-F6D0-461F-B90B-E7BBCD92E727}" type="pres">
      <dgm:prSet presAssocID="{490EFAFB-B2AB-4C58-976A-314B40ED094E}" presName="root2" presStyleCnt="0"/>
      <dgm:spPr/>
    </dgm:pt>
    <dgm:pt modelId="{05406DA6-8C74-41E1-A2A4-3DFDB29347D7}" type="pres">
      <dgm:prSet presAssocID="{490EFAFB-B2AB-4C58-976A-314B40ED094E}" presName="LevelTwoTextNode" presStyleLbl="node4" presStyleIdx="2" presStyleCnt="3">
        <dgm:presLayoutVars>
          <dgm:chPref val="3"/>
        </dgm:presLayoutVars>
      </dgm:prSet>
      <dgm:spPr/>
    </dgm:pt>
    <dgm:pt modelId="{4430D1B7-0E83-4F9F-AF19-91475C236205}" type="pres">
      <dgm:prSet presAssocID="{490EFAFB-B2AB-4C58-976A-314B40ED094E}" presName="level3hierChild" presStyleCnt="0"/>
      <dgm:spPr/>
    </dgm:pt>
    <dgm:pt modelId="{0F290A14-8258-4054-B7B7-1C05F4891EB2}" type="pres">
      <dgm:prSet presAssocID="{1803EC85-9E9B-419D-A410-3022816E72B3}" presName="conn2-1" presStyleLbl="parChTrans1D3" presStyleIdx="3" presStyleCnt="8"/>
      <dgm:spPr/>
    </dgm:pt>
    <dgm:pt modelId="{758E2993-C4A0-473E-8CE5-E76AA0C33123}" type="pres">
      <dgm:prSet presAssocID="{1803EC85-9E9B-419D-A410-3022816E72B3}" presName="connTx" presStyleLbl="parChTrans1D3" presStyleIdx="3" presStyleCnt="8"/>
      <dgm:spPr/>
    </dgm:pt>
    <dgm:pt modelId="{C0838FE4-B7B2-40BA-A21A-49E730B41202}" type="pres">
      <dgm:prSet presAssocID="{389D07AD-5BE0-4101-AD54-142E697CF54F}" presName="root2" presStyleCnt="0"/>
      <dgm:spPr/>
    </dgm:pt>
    <dgm:pt modelId="{8F5B3C9D-DB52-4F11-8044-1064D5AA4042}" type="pres">
      <dgm:prSet presAssocID="{389D07AD-5BE0-4101-AD54-142E697CF54F}" presName="LevelTwoTextNode" presStyleLbl="node3" presStyleIdx="3" presStyleCnt="8">
        <dgm:presLayoutVars>
          <dgm:chPref val="3"/>
        </dgm:presLayoutVars>
      </dgm:prSet>
      <dgm:spPr/>
    </dgm:pt>
    <dgm:pt modelId="{59B4AFDB-DF8F-490B-8024-C5CFA02E0177}" type="pres">
      <dgm:prSet presAssocID="{389D07AD-5BE0-4101-AD54-142E697CF54F}" presName="level3hierChild" presStyleCnt="0"/>
      <dgm:spPr/>
    </dgm:pt>
    <dgm:pt modelId="{772B6672-0C25-4339-AFB5-5377C5A5918B}" type="pres">
      <dgm:prSet presAssocID="{C876145B-D31B-4BDD-9C02-2DD518530710}" presName="conn2-1" presStyleLbl="parChTrans1D2" presStyleIdx="4" presStyleCnt="5"/>
      <dgm:spPr/>
    </dgm:pt>
    <dgm:pt modelId="{8B5D76F0-E654-41CF-A0AD-DF0D56D22DD0}" type="pres">
      <dgm:prSet presAssocID="{C876145B-D31B-4BDD-9C02-2DD518530710}" presName="connTx" presStyleLbl="parChTrans1D2" presStyleIdx="4" presStyleCnt="5"/>
      <dgm:spPr/>
    </dgm:pt>
    <dgm:pt modelId="{3F7F59B9-DF68-4243-99B1-8BA5676E620D}" type="pres">
      <dgm:prSet presAssocID="{8FA94225-D890-4DAD-8E5F-837F4E853E03}" presName="root2" presStyleCnt="0"/>
      <dgm:spPr/>
    </dgm:pt>
    <dgm:pt modelId="{BD077F20-BB78-41A0-9FCB-BA36747F0311}" type="pres">
      <dgm:prSet presAssocID="{8FA94225-D890-4DAD-8E5F-837F4E853E03}" presName="LevelTwoTextNode" presStyleLbl="node2" presStyleIdx="4" presStyleCnt="5">
        <dgm:presLayoutVars>
          <dgm:chPref val="3"/>
        </dgm:presLayoutVars>
      </dgm:prSet>
      <dgm:spPr/>
    </dgm:pt>
    <dgm:pt modelId="{DB3A152A-679C-4BDA-A889-ACB908AE402D}" type="pres">
      <dgm:prSet presAssocID="{8FA94225-D890-4DAD-8E5F-837F4E853E03}" presName="level3hierChild" presStyleCnt="0"/>
      <dgm:spPr/>
    </dgm:pt>
    <dgm:pt modelId="{9789E0F0-ED14-4670-BD91-4D0F3159D9E4}" type="pres">
      <dgm:prSet presAssocID="{F5C2D7BA-E427-4308-9120-81F49CD8D0B2}" presName="conn2-1" presStyleLbl="parChTrans1D3" presStyleIdx="4" presStyleCnt="8"/>
      <dgm:spPr/>
    </dgm:pt>
    <dgm:pt modelId="{52EE5D87-2C86-4CD7-9EC9-03AA7BE2797C}" type="pres">
      <dgm:prSet presAssocID="{F5C2D7BA-E427-4308-9120-81F49CD8D0B2}" presName="connTx" presStyleLbl="parChTrans1D3" presStyleIdx="4" presStyleCnt="8"/>
      <dgm:spPr/>
    </dgm:pt>
    <dgm:pt modelId="{2A5A2B1F-7A12-47C9-8769-12A97DD500EB}" type="pres">
      <dgm:prSet presAssocID="{85B04B81-44CB-4A00-A053-FA790D33CF5B}" presName="root2" presStyleCnt="0"/>
      <dgm:spPr/>
    </dgm:pt>
    <dgm:pt modelId="{D12B2D03-7757-4C90-A6F5-E811CD885F06}" type="pres">
      <dgm:prSet presAssocID="{85B04B81-44CB-4A00-A053-FA790D33CF5B}" presName="LevelTwoTextNode" presStyleLbl="node3" presStyleIdx="4" presStyleCnt="8">
        <dgm:presLayoutVars>
          <dgm:chPref val="3"/>
        </dgm:presLayoutVars>
      </dgm:prSet>
      <dgm:spPr/>
    </dgm:pt>
    <dgm:pt modelId="{1B0A2AFA-2FCD-4DE2-B6F5-437E3A99EF1A}" type="pres">
      <dgm:prSet presAssocID="{85B04B81-44CB-4A00-A053-FA790D33CF5B}" presName="level3hierChild" presStyleCnt="0"/>
      <dgm:spPr/>
    </dgm:pt>
    <dgm:pt modelId="{2D16C608-8D1F-43AB-8A63-66A61780A5B8}" type="pres">
      <dgm:prSet presAssocID="{82DB9DBB-6336-4F54-B925-0DE261B8ACD1}" presName="conn2-1" presStyleLbl="parChTrans1D3" presStyleIdx="5" presStyleCnt="8"/>
      <dgm:spPr/>
    </dgm:pt>
    <dgm:pt modelId="{54C68D7E-9BD5-4BD5-9702-A95826246C1A}" type="pres">
      <dgm:prSet presAssocID="{82DB9DBB-6336-4F54-B925-0DE261B8ACD1}" presName="connTx" presStyleLbl="parChTrans1D3" presStyleIdx="5" presStyleCnt="8"/>
      <dgm:spPr/>
    </dgm:pt>
    <dgm:pt modelId="{CF28DA96-1EC6-4A96-8BB2-EC6BA612BE04}" type="pres">
      <dgm:prSet presAssocID="{1646A6A2-CC76-4F2A-B3B0-3FF7B43EEBFB}" presName="root2" presStyleCnt="0"/>
      <dgm:spPr/>
    </dgm:pt>
    <dgm:pt modelId="{D787A572-2C42-498C-8801-8F0C3CDCFFA8}" type="pres">
      <dgm:prSet presAssocID="{1646A6A2-CC76-4F2A-B3B0-3FF7B43EEBFB}" presName="LevelTwoTextNode" presStyleLbl="node3" presStyleIdx="5" presStyleCnt="8">
        <dgm:presLayoutVars>
          <dgm:chPref val="3"/>
        </dgm:presLayoutVars>
      </dgm:prSet>
      <dgm:spPr/>
    </dgm:pt>
    <dgm:pt modelId="{B805CCE8-C691-416F-A26F-BA1BD252244A}" type="pres">
      <dgm:prSet presAssocID="{1646A6A2-CC76-4F2A-B3B0-3FF7B43EEBFB}" presName="level3hierChild" presStyleCnt="0"/>
      <dgm:spPr/>
    </dgm:pt>
    <dgm:pt modelId="{10CC8ABE-BCD1-4D31-9BB2-B40FE9B8F17B}" type="pres">
      <dgm:prSet presAssocID="{C5F13DBA-011D-4F7B-8E4F-2960C3B47A4E}" presName="conn2-1" presStyleLbl="parChTrans1D3" presStyleIdx="6" presStyleCnt="8"/>
      <dgm:spPr/>
    </dgm:pt>
    <dgm:pt modelId="{0DBEAF5D-3704-4F77-8383-4F97A68A4FD6}" type="pres">
      <dgm:prSet presAssocID="{C5F13DBA-011D-4F7B-8E4F-2960C3B47A4E}" presName="connTx" presStyleLbl="parChTrans1D3" presStyleIdx="6" presStyleCnt="8"/>
      <dgm:spPr/>
    </dgm:pt>
    <dgm:pt modelId="{EA5D8D60-B0A0-4A40-BA2D-887DF35A535F}" type="pres">
      <dgm:prSet presAssocID="{74DDBAF1-9952-463A-9D22-92498662CD19}" presName="root2" presStyleCnt="0"/>
      <dgm:spPr/>
    </dgm:pt>
    <dgm:pt modelId="{283E850A-BC92-46E2-9AF8-6775B0444780}" type="pres">
      <dgm:prSet presAssocID="{74DDBAF1-9952-463A-9D22-92498662CD19}" presName="LevelTwoTextNode" presStyleLbl="node3" presStyleIdx="6" presStyleCnt="8">
        <dgm:presLayoutVars>
          <dgm:chPref val="3"/>
        </dgm:presLayoutVars>
      </dgm:prSet>
      <dgm:spPr/>
    </dgm:pt>
    <dgm:pt modelId="{FA08F58C-EE1F-40BB-9090-FB534811DC56}" type="pres">
      <dgm:prSet presAssocID="{74DDBAF1-9952-463A-9D22-92498662CD19}" presName="level3hierChild" presStyleCnt="0"/>
      <dgm:spPr/>
    </dgm:pt>
    <dgm:pt modelId="{4FF16733-50D9-48F3-850E-1A6405EADDD3}" type="pres">
      <dgm:prSet presAssocID="{43448539-1217-4DC9-A7E1-DC29C3E6E194}" presName="conn2-1" presStyleLbl="parChTrans1D3" presStyleIdx="7" presStyleCnt="8"/>
      <dgm:spPr/>
    </dgm:pt>
    <dgm:pt modelId="{86422520-F8E0-41E1-BEC3-7989B9B7B558}" type="pres">
      <dgm:prSet presAssocID="{43448539-1217-4DC9-A7E1-DC29C3E6E194}" presName="connTx" presStyleLbl="parChTrans1D3" presStyleIdx="7" presStyleCnt="8"/>
      <dgm:spPr/>
    </dgm:pt>
    <dgm:pt modelId="{42D51849-7610-44A8-AE4C-BEB197A4976B}" type="pres">
      <dgm:prSet presAssocID="{B4FA93FC-93BC-4570-AA64-C7E92EC10118}" presName="root2" presStyleCnt="0"/>
      <dgm:spPr/>
    </dgm:pt>
    <dgm:pt modelId="{F4005958-72C7-401B-8F2D-AB7AD97B8B42}" type="pres">
      <dgm:prSet presAssocID="{B4FA93FC-93BC-4570-AA64-C7E92EC10118}" presName="LevelTwoTextNode" presStyleLbl="node3" presStyleIdx="7" presStyleCnt="8">
        <dgm:presLayoutVars>
          <dgm:chPref val="3"/>
        </dgm:presLayoutVars>
      </dgm:prSet>
      <dgm:spPr/>
    </dgm:pt>
    <dgm:pt modelId="{AB150661-2152-45A6-A419-45473B30B2B7}" type="pres">
      <dgm:prSet presAssocID="{B4FA93FC-93BC-4570-AA64-C7E92EC10118}" presName="level3hierChild" presStyleCnt="0"/>
      <dgm:spPr/>
    </dgm:pt>
  </dgm:ptLst>
  <dgm:cxnLst>
    <dgm:cxn modelId="{EF71AB03-BD0D-45AC-87B2-04AE706DE9BF}" srcId="{8FA94225-D890-4DAD-8E5F-837F4E853E03}" destId="{85B04B81-44CB-4A00-A053-FA790D33CF5B}" srcOrd="0" destOrd="0" parTransId="{F5C2D7BA-E427-4308-9120-81F49CD8D0B2}" sibTransId="{7EE78927-75A8-4252-85F9-F4A09FBE6A04}"/>
    <dgm:cxn modelId="{402FBC05-7099-49C0-8487-DFB721539E08}" type="presOf" srcId="{B4FA93FC-93BC-4570-AA64-C7E92EC10118}" destId="{F4005958-72C7-401B-8F2D-AB7AD97B8B42}" srcOrd="0" destOrd="0" presId="urn:microsoft.com/office/officeart/2008/layout/HorizontalMultiLevelHierarchy"/>
    <dgm:cxn modelId="{A5F22606-C7E6-4A1F-AE5D-FFF055D9A440}" type="presOf" srcId="{61561191-B78F-4453-8DBB-676B271A523D}" destId="{7DC15490-470C-48D6-AC56-31E76E845593}" srcOrd="1" destOrd="0" presId="urn:microsoft.com/office/officeart/2008/layout/HorizontalMultiLevelHierarchy"/>
    <dgm:cxn modelId="{1E65C10D-A484-4583-A9E0-79BCA8B129BA}" type="presOf" srcId="{7F9503C5-28C8-4C5C-95D2-FD85B96AF7AB}" destId="{BBF2C805-17D2-4DC8-B5E3-47D725742B7F}" srcOrd="0" destOrd="0" presId="urn:microsoft.com/office/officeart/2008/layout/HorizontalMultiLevelHierarchy"/>
    <dgm:cxn modelId="{E793C00F-169F-4772-99FF-8F45837989E8}" srcId="{C7C0326A-498B-4EA5-9440-719F5D8E10CF}" destId="{A781D731-C063-4E7A-BF90-E72945185D50}" srcOrd="0" destOrd="0" parTransId="{9D922E1E-8A7C-44D9-958A-A780CB70BD83}" sibTransId="{23B2E8F1-3CAC-4D7E-ABC0-BB66C327643E}"/>
    <dgm:cxn modelId="{1B60FA0F-F4C3-4A40-89C1-7F2F3952C9F6}" type="presOf" srcId="{43448539-1217-4DC9-A7E1-DC29C3E6E194}" destId="{86422520-F8E0-41E1-BEC3-7989B9B7B558}" srcOrd="1" destOrd="0" presId="urn:microsoft.com/office/officeart/2008/layout/HorizontalMultiLevelHierarchy"/>
    <dgm:cxn modelId="{3C050412-59FA-4A04-A4A7-2390A5D372A8}" srcId="{8FA94225-D890-4DAD-8E5F-837F4E853E03}" destId="{B4FA93FC-93BC-4570-AA64-C7E92EC10118}" srcOrd="3" destOrd="0" parTransId="{43448539-1217-4DC9-A7E1-DC29C3E6E194}" sibTransId="{F8577E10-E956-405E-8D2C-BD2925BB525F}"/>
    <dgm:cxn modelId="{70584014-FFDA-437A-BD72-C8D5A4E9585F}" type="presOf" srcId="{9D922E1E-8A7C-44D9-958A-A780CB70BD83}" destId="{19EF9AD3-5FD6-4D1C-B3A9-52D39D1C5BE1}" srcOrd="0" destOrd="0" presId="urn:microsoft.com/office/officeart/2008/layout/HorizontalMultiLevelHierarchy"/>
    <dgm:cxn modelId="{3FE84A15-6239-44F8-AF0F-7180811CFE02}" type="presOf" srcId="{0361C19C-8EAF-4E76-A350-75F4F2260A0C}" destId="{469CEF6C-0A52-4E0D-9B1B-70794A75AF34}" srcOrd="1" destOrd="0" presId="urn:microsoft.com/office/officeart/2008/layout/HorizontalMultiLevelHierarchy"/>
    <dgm:cxn modelId="{05BDE817-1230-4EEA-871B-8DDAF4268DF2}" type="presOf" srcId="{389D07AD-5BE0-4101-AD54-142E697CF54F}" destId="{8F5B3C9D-DB52-4F11-8044-1064D5AA4042}" srcOrd="0" destOrd="0" presId="urn:microsoft.com/office/officeart/2008/layout/HorizontalMultiLevelHierarchy"/>
    <dgm:cxn modelId="{F5D4BB1D-65AD-4C3E-B0D7-C868B4D42487}" type="presOf" srcId="{1846665B-A0FC-4FF9-B40B-9883DF0A7497}" destId="{62EA3426-BA05-43A9-9E5A-0A7BBB50879B}" srcOrd="1" destOrd="0" presId="urn:microsoft.com/office/officeart/2008/layout/HorizontalMultiLevelHierarchy"/>
    <dgm:cxn modelId="{FB73FC22-4E97-466E-9C94-43376C45E50E}" type="presOf" srcId="{85B04B81-44CB-4A00-A053-FA790D33CF5B}" destId="{D12B2D03-7757-4C90-A6F5-E811CD885F06}" srcOrd="0" destOrd="0" presId="urn:microsoft.com/office/officeart/2008/layout/HorizontalMultiLevelHierarchy"/>
    <dgm:cxn modelId="{E542B224-E641-4757-AFDD-C1DBAB70E2B7}" srcId="{A41C5410-0091-4FC2-AB0C-900DE3006A1C}" destId="{8BFC5DA8-756D-4970-8D35-6A052CAC36CD}" srcOrd="1" destOrd="0" parTransId="{178E52EA-0C2E-4851-B7EA-1DA7C768C67E}" sibTransId="{3C386C40-4654-4EB0-B0AB-CA2F4BE40952}"/>
    <dgm:cxn modelId="{6B5DA825-1C3F-4B8C-9366-9BE9B54913AB}" type="presOf" srcId="{74DDBAF1-9952-463A-9D22-92498662CD19}" destId="{283E850A-BC92-46E2-9AF8-6775B0444780}" srcOrd="0" destOrd="0" presId="urn:microsoft.com/office/officeart/2008/layout/HorizontalMultiLevelHierarchy"/>
    <dgm:cxn modelId="{A7700826-7214-4F79-81A1-669399C83E49}" srcId="{A41C5410-0091-4FC2-AB0C-900DE3006A1C}" destId="{7109C632-B913-4E4C-A161-5503B130F0C2}" srcOrd="0" destOrd="0" parTransId="{8AD23AA5-358F-4A85-B202-463D2943CA75}" sibTransId="{78FE6451-A544-4B8F-A5DF-67B5FEA6B9FC}"/>
    <dgm:cxn modelId="{34DF6626-F112-4BDB-8077-3D3AF6E904D0}" type="presOf" srcId="{490EFAFB-B2AB-4C58-976A-314B40ED094E}" destId="{05406DA6-8C74-41E1-A2A4-3DFDB29347D7}" srcOrd="0" destOrd="0" presId="urn:microsoft.com/office/officeart/2008/layout/HorizontalMultiLevelHierarchy"/>
    <dgm:cxn modelId="{B074722B-001E-494B-88B3-6D1F67202A3D}" type="presOf" srcId="{2A72AC1D-A91A-48C7-A56C-97EE5612D1EB}" destId="{A54E28A5-F11F-44A7-A793-BB330E707504}" srcOrd="0" destOrd="0" presId="urn:microsoft.com/office/officeart/2008/layout/HorizontalMultiLevelHierarchy"/>
    <dgm:cxn modelId="{65F63B3F-E1C7-4A50-9DD4-A7CEAEDB040E}" type="presOf" srcId="{8BFC5DA8-756D-4970-8D35-6A052CAC36CD}" destId="{E25480DD-CA4A-450B-8249-9F0D8041BB28}" srcOrd="0" destOrd="0" presId="urn:microsoft.com/office/officeart/2008/layout/HorizontalMultiLevelHierarchy"/>
    <dgm:cxn modelId="{F4F1B441-09A5-40C2-9667-33E7F8AE9721}" srcId="{C7C0326A-498B-4EA5-9440-719F5D8E10CF}" destId="{389D07AD-5BE0-4101-AD54-142E697CF54F}" srcOrd="2" destOrd="0" parTransId="{1803EC85-9E9B-419D-A410-3022816E72B3}" sibTransId="{682ECFFF-2D48-4814-8081-6F9710AAEDF5}"/>
    <dgm:cxn modelId="{F6D42262-7CF7-4C96-9FEA-A3E8EC783ACE}" srcId="{7109C632-B913-4E4C-A161-5503B130F0C2}" destId="{B94964DD-9C44-4B97-8A14-6A0B5707430D}" srcOrd="0" destOrd="0" parTransId="{7F9503C5-28C8-4C5C-95D2-FD85B96AF7AB}" sibTransId="{93C24CC2-065F-4E07-8121-8BD2DFF6704D}"/>
    <dgm:cxn modelId="{2F077E64-95F7-4D8B-B8F3-16CDA45941D8}" type="presOf" srcId="{54A1FA0B-58FF-48E0-A85D-4E1DC61D1FED}" destId="{A21ABAF8-A113-4DC0-A467-F86D1E457853}" srcOrd="0" destOrd="0" presId="urn:microsoft.com/office/officeart/2008/layout/HorizontalMultiLevelHierarchy"/>
    <dgm:cxn modelId="{52556645-1282-4045-A29F-27FF97D678D4}" type="presOf" srcId="{F5C2D7BA-E427-4308-9120-81F49CD8D0B2}" destId="{52EE5D87-2C86-4CD7-9EC9-03AA7BE2797C}" srcOrd="1" destOrd="0" presId="urn:microsoft.com/office/officeart/2008/layout/HorizontalMultiLevelHierarchy"/>
    <dgm:cxn modelId="{3E637C65-D8E5-4D1C-9C52-4270BC3602F2}" type="presOf" srcId="{C876145B-D31B-4BDD-9C02-2DD518530710}" destId="{8B5D76F0-E654-41CF-A0AD-DF0D56D22DD0}" srcOrd="1" destOrd="0" presId="urn:microsoft.com/office/officeart/2008/layout/HorizontalMultiLevelHierarchy"/>
    <dgm:cxn modelId="{01E1ED47-F77F-48CC-A7F6-4522C5BFE140}" srcId="{A41C5410-0091-4FC2-AB0C-900DE3006A1C}" destId="{C7C0326A-498B-4EA5-9440-719F5D8E10CF}" srcOrd="3" destOrd="0" parTransId="{0361C19C-8EAF-4E76-A350-75F4F2260A0C}" sibTransId="{683883C1-3ECA-4BA4-8B8A-554B2E4D7C29}"/>
    <dgm:cxn modelId="{B4668348-6E4A-400A-8D7B-8835FD307CE9}" type="presOf" srcId="{C7C0326A-498B-4EA5-9440-719F5D8E10CF}" destId="{1526E125-DA56-4639-B3BC-384DE375F35C}" srcOrd="0" destOrd="0" presId="urn:microsoft.com/office/officeart/2008/layout/HorizontalMultiLevelHierarchy"/>
    <dgm:cxn modelId="{DB9C706A-2397-4241-B42B-C40FD69DD6BD}" type="presOf" srcId="{4751E85E-8EB5-4D00-884F-3934A85ED974}" destId="{B4D36503-C9B1-4DC2-A75D-9C86EDCEDC7A}" srcOrd="0" destOrd="0" presId="urn:microsoft.com/office/officeart/2008/layout/HorizontalMultiLevelHierarchy"/>
    <dgm:cxn modelId="{2D10E94A-B560-4C38-BE9F-ACB1E630B1E0}" type="presOf" srcId="{1803EC85-9E9B-419D-A410-3022816E72B3}" destId="{0F290A14-8258-4054-B7B7-1C05F4891EB2}" srcOrd="0" destOrd="0" presId="urn:microsoft.com/office/officeart/2008/layout/HorizontalMultiLevelHierarchy"/>
    <dgm:cxn modelId="{5D40E051-170B-4ACD-9BEC-4C30F953CF66}" srcId="{A41C5410-0091-4FC2-AB0C-900DE3006A1C}" destId="{985F93BC-70F8-4D6D-B921-B499FD89EBB9}" srcOrd="2" destOrd="0" parTransId="{0B2D7813-E189-4E48-A50A-D22892789D6D}" sibTransId="{5B8BB346-810B-4AA6-A0A9-92EE87D7F4DE}"/>
    <dgm:cxn modelId="{78660F72-164B-40F3-95A3-215B64BA26CD}" type="presOf" srcId="{82DB9DBB-6336-4F54-B925-0DE261B8ACD1}" destId="{54C68D7E-9BD5-4BD5-9702-A95826246C1A}" srcOrd="1" destOrd="0" presId="urn:microsoft.com/office/officeart/2008/layout/HorizontalMultiLevelHierarchy"/>
    <dgm:cxn modelId="{45DD8F52-EF58-4048-A098-6401F9FE86C4}" type="presOf" srcId="{61561191-B78F-4453-8DBB-676B271A523D}" destId="{98E3291E-7029-4963-B075-905A3389F451}" srcOrd="0" destOrd="0" presId="urn:microsoft.com/office/officeart/2008/layout/HorizontalMultiLevelHierarchy"/>
    <dgm:cxn modelId="{B15CFE76-9DAE-41D4-9171-A904F4A1DEA3}" type="presOf" srcId="{8AD23AA5-358F-4A85-B202-463D2943CA75}" destId="{6528EDF7-A7BB-44DC-9FD0-61EE51E019B1}" srcOrd="1" destOrd="0" presId="urn:microsoft.com/office/officeart/2008/layout/HorizontalMultiLevelHierarchy"/>
    <dgm:cxn modelId="{4B2BD458-7898-4083-8375-DDB17A868F4B}" srcId="{C7C0326A-498B-4EA5-9440-719F5D8E10CF}" destId="{4751E85E-8EB5-4D00-884F-3934A85ED974}" srcOrd="1" destOrd="0" parTransId="{61561191-B78F-4453-8DBB-676B271A523D}" sibTransId="{A6D2B80C-8B45-4155-92B5-777DA0D1DEB1}"/>
    <dgm:cxn modelId="{D4D46F79-5746-4A72-A64A-450E0C6ACFF8}" type="presOf" srcId="{C5F13DBA-011D-4F7B-8E4F-2960C3B47A4E}" destId="{10CC8ABE-BCD1-4D31-9BB2-B40FE9B8F17B}" srcOrd="0" destOrd="0" presId="urn:microsoft.com/office/officeart/2008/layout/HorizontalMultiLevelHierarchy"/>
    <dgm:cxn modelId="{79CB2F7A-64E2-41F6-AEBC-BCE47B82C185}" type="presOf" srcId="{1646A6A2-CC76-4F2A-B3B0-3FF7B43EEBFB}" destId="{D787A572-2C42-498C-8801-8F0C3CDCFFA8}" srcOrd="0" destOrd="0" presId="urn:microsoft.com/office/officeart/2008/layout/HorizontalMultiLevelHierarchy"/>
    <dgm:cxn modelId="{3DB3717B-FF0C-40EB-B522-18BF19567525}" type="presOf" srcId="{43448539-1217-4DC9-A7E1-DC29C3E6E194}" destId="{4FF16733-50D9-48F3-850E-1A6405EADDD3}" srcOrd="0" destOrd="0" presId="urn:microsoft.com/office/officeart/2008/layout/HorizontalMultiLevelHierarchy"/>
    <dgm:cxn modelId="{19841E7C-B659-47DB-B91A-543064C2E2DD}" type="presOf" srcId="{7F9503C5-28C8-4C5C-95D2-FD85B96AF7AB}" destId="{3C6183BC-FB2C-4EC1-92D7-265B741142D3}" srcOrd="1" destOrd="0" presId="urn:microsoft.com/office/officeart/2008/layout/HorizontalMultiLevelHierarchy"/>
    <dgm:cxn modelId="{E001AE83-8E2F-4023-A111-206CC15A22D7}" type="presOf" srcId="{985F93BC-70F8-4D6D-B921-B499FD89EBB9}" destId="{965A06B0-48F4-43A6-ADD2-1E7ABE1821B4}" srcOrd="0" destOrd="0" presId="urn:microsoft.com/office/officeart/2008/layout/HorizontalMultiLevelHierarchy"/>
    <dgm:cxn modelId="{AD156C84-2DF1-4D6E-BA20-529E2158CAFC}" type="presOf" srcId="{0B2D7813-E189-4E48-A50A-D22892789D6D}" destId="{0C9E4D8C-437F-44C5-9015-190B665B19DD}" srcOrd="1" destOrd="0" presId="urn:microsoft.com/office/officeart/2008/layout/HorizontalMultiLevelHierarchy"/>
    <dgm:cxn modelId="{93A62F89-DA72-419D-B0B2-DFC30ECDA4EC}" type="presOf" srcId="{C876145B-D31B-4BDD-9C02-2DD518530710}" destId="{772B6672-0C25-4339-AFB5-5377C5A5918B}" srcOrd="0" destOrd="0" presId="urn:microsoft.com/office/officeart/2008/layout/HorizontalMultiLevelHierarchy"/>
    <dgm:cxn modelId="{2B980791-4761-4E30-B5E8-46738539AE83}" type="presOf" srcId="{0361C19C-8EAF-4E76-A350-75F4F2260A0C}" destId="{10065D86-6EE3-4102-A9A2-9ADAD6F89481}" srcOrd="0" destOrd="0" presId="urn:microsoft.com/office/officeart/2008/layout/HorizontalMultiLevelHierarchy"/>
    <dgm:cxn modelId="{745C9A91-AC06-41B8-8DBA-B6876C0CA2FC}" srcId="{A41C5410-0091-4FC2-AB0C-900DE3006A1C}" destId="{8FA94225-D890-4DAD-8E5F-837F4E853E03}" srcOrd="4" destOrd="0" parTransId="{C876145B-D31B-4BDD-9C02-2DD518530710}" sibTransId="{62826DBA-93BB-474C-A3B4-7267722FB57A}"/>
    <dgm:cxn modelId="{844F2299-A07D-4EBB-9184-71043BD91FBB}" type="presOf" srcId="{8AD23AA5-358F-4A85-B202-463D2943CA75}" destId="{E085A80C-5CFB-48C4-99B2-D6D376C04826}" srcOrd="0" destOrd="0" presId="urn:microsoft.com/office/officeart/2008/layout/HorizontalMultiLevelHierarchy"/>
    <dgm:cxn modelId="{F5FC41A1-1B6A-4934-AFC8-9D68438ABD46}" type="presOf" srcId="{8FA94225-D890-4DAD-8E5F-837F4E853E03}" destId="{BD077F20-BB78-41A0-9FCB-BA36747F0311}" srcOrd="0" destOrd="0" presId="urn:microsoft.com/office/officeart/2008/layout/HorizontalMultiLevelHierarchy"/>
    <dgm:cxn modelId="{816FE6A1-822B-4665-A75A-48E2BCD9D80E}" type="presOf" srcId="{FF164696-F258-4F03-8E91-5339E30C37AF}" destId="{53FA902C-1915-4D1D-8BC5-736E515412DB}" srcOrd="0" destOrd="0" presId="urn:microsoft.com/office/officeart/2008/layout/HorizontalMultiLevelHierarchy"/>
    <dgm:cxn modelId="{94E3DEA9-8E0A-4F2B-A1BC-AE9CDBE86904}" type="presOf" srcId="{0B2D7813-E189-4E48-A50A-D22892789D6D}" destId="{CF8F6304-0777-4129-B071-A9BDB9AC4FF3}" srcOrd="0" destOrd="0" presId="urn:microsoft.com/office/officeart/2008/layout/HorizontalMultiLevelHierarchy"/>
    <dgm:cxn modelId="{43B1EFAE-2996-4A2F-AB29-613B8A755E88}" type="presOf" srcId="{5E0F84CF-0AB0-4613-9EF3-0006080269CF}" destId="{72C81662-F6ED-4F54-BDBB-E09F84BC452C}" srcOrd="0" destOrd="0" presId="urn:microsoft.com/office/officeart/2008/layout/HorizontalMultiLevelHierarchy"/>
    <dgm:cxn modelId="{A07347B8-5621-489C-A479-8AA2EEF33C27}" srcId="{4751E85E-8EB5-4D00-884F-3934A85ED974}" destId="{25630D53-5798-43AD-9234-3BE9CD5EC071}" srcOrd="1" destOrd="0" parTransId="{1846665B-A0FC-4FF9-B40B-9883DF0A7497}" sibTransId="{FACB75B7-489C-4CAD-9888-6B6BC7B8E639}"/>
    <dgm:cxn modelId="{638525BC-47D3-45BE-A7EE-BB5FA52E33AF}" type="presOf" srcId="{7109C632-B913-4E4C-A161-5503B130F0C2}" destId="{AAA3FC0D-B3C7-455D-8F5A-6F8C59B7F0B4}" srcOrd="0" destOrd="0" presId="urn:microsoft.com/office/officeart/2008/layout/HorizontalMultiLevelHierarchy"/>
    <dgm:cxn modelId="{73199DBE-4E7E-4EF4-8EE9-C7DA962C5949}" srcId="{54A1FA0B-58FF-48E0-A85D-4E1DC61D1FED}" destId="{A41C5410-0091-4FC2-AB0C-900DE3006A1C}" srcOrd="0" destOrd="0" parTransId="{C6891A48-7E72-44C9-A8C0-A7C43E407A48}" sibTransId="{888FAAC3-BF2F-4520-B43C-E1DE26BAC189}"/>
    <dgm:cxn modelId="{D8955DC8-9596-4341-AE5F-5BF5E8B2E7AB}" type="presOf" srcId="{A41C5410-0091-4FC2-AB0C-900DE3006A1C}" destId="{E589B3FA-F31D-4360-A2B4-140845281945}" srcOrd="0" destOrd="0" presId="urn:microsoft.com/office/officeart/2008/layout/HorizontalMultiLevelHierarchy"/>
    <dgm:cxn modelId="{45FB19CD-EF1B-4610-86C0-0DA9613F5104}" type="presOf" srcId="{178E52EA-0C2E-4851-B7EA-1DA7C768C67E}" destId="{2E1E22E1-C9B0-4ED5-BA31-2D60EC78FF4D}" srcOrd="0" destOrd="0" presId="urn:microsoft.com/office/officeart/2008/layout/HorizontalMultiLevelHierarchy"/>
    <dgm:cxn modelId="{47305CCF-DB1B-44BC-B3D8-BC79CD3A3755}" type="presOf" srcId="{1846665B-A0FC-4FF9-B40B-9883DF0A7497}" destId="{92A5F87C-49DE-44DE-8F08-B57ADC116640}" srcOrd="0" destOrd="0" presId="urn:microsoft.com/office/officeart/2008/layout/HorizontalMultiLevelHierarchy"/>
    <dgm:cxn modelId="{13A2A3D0-7197-4933-8D3E-71F2DCAE33F2}" type="presOf" srcId="{A781D731-C063-4E7A-BF90-E72945185D50}" destId="{B38EB279-E80D-4AD4-9C62-5D90B36B9284}" srcOrd="0" destOrd="0" presId="urn:microsoft.com/office/officeart/2008/layout/HorizontalMultiLevelHierarchy"/>
    <dgm:cxn modelId="{C9AD96D2-7B5C-4AD8-B3E4-E8D73DA3F171}" type="presOf" srcId="{2A72AC1D-A91A-48C7-A56C-97EE5612D1EB}" destId="{019E5118-0E31-4420-8D79-8E88CFA12D3D}" srcOrd="1" destOrd="0" presId="urn:microsoft.com/office/officeart/2008/layout/HorizontalMultiLevelHierarchy"/>
    <dgm:cxn modelId="{69D95CD3-408F-41C0-A554-CCD06ABD61E4}" srcId="{8FA94225-D890-4DAD-8E5F-837F4E853E03}" destId="{1646A6A2-CC76-4F2A-B3B0-3FF7B43EEBFB}" srcOrd="1" destOrd="0" parTransId="{82DB9DBB-6336-4F54-B925-0DE261B8ACD1}" sibTransId="{15016034-FCA2-4939-BFDE-0D60FBB0FF28}"/>
    <dgm:cxn modelId="{5ECF4FD5-FF8F-42D3-8062-48F575EC0027}" type="presOf" srcId="{1803EC85-9E9B-419D-A410-3022816E72B3}" destId="{758E2993-C4A0-473E-8CE5-E76AA0C33123}" srcOrd="1" destOrd="0" presId="urn:microsoft.com/office/officeart/2008/layout/HorizontalMultiLevelHierarchy"/>
    <dgm:cxn modelId="{666E25DD-364E-4D5C-8EE9-A0693DBE500E}" srcId="{4751E85E-8EB5-4D00-884F-3934A85ED974}" destId="{FF164696-F258-4F03-8E91-5339E30C37AF}" srcOrd="0" destOrd="0" parTransId="{5E0F84CF-0AB0-4613-9EF3-0006080269CF}" sibTransId="{11EEE3FB-9859-45E0-8D7D-91BBA9B35136}"/>
    <dgm:cxn modelId="{6B4F4BE7-FCF6-4C9A-87B3-01DEC307BB1E}" type="presOf" srcId="{C5F13DBA-011D-4F7B-8E4F-2960C3B47A4E}" destId="{0DBEAF5D-3704-4F77-8383-4F97A68A4FD6}" srcOrd="1" destOrd="0" presId="urn:microsoft.com/office/officeart/2008/layout/HorizontalMultiLevelHierarchy"/>
    <dgm:cxn modelId="{46AA5BEA-ED22-4948-9D9F-4400FE95F019}" srcId="{4751E85E-8EB5-4D00-884F-3934A85ED974}" destId="{490EFAFB-B2AB-4C58-976A-314B40ED094E}" srcOrd="2" destOrd="0" parTransId="{2A72AC1D-A91A-48C7-A56C-97EE5612D1EB}" sibTransId="{B2D53FB4-4AC9-4DC4-9601-E4590DAA47A8}"/>
    <dgm:cxn modelId="{181855ED-37BC-427C-B973-733550561F12}" type="presOf" srcId="{9D922E1E-8A7C-44D9-958A-A780CB70BD83}" destId="{CDF34926-F295-4E91-9EB5-F915FCACB496}" srcOrd="1" destOrd="0" presId="urn:microsoft.com/office/officeart/2008/layout/HorizontalMultiLevelHierarchy"/>
    <dgm:cxn modelId="{CDC379ED-26D9-4476-9D91-484B25302943}" srcId="{8FA94225-D890-4DAD-8E5F-837F4E853E03}" destId="{74DDBAF1-9952-463A-9D22-92498662CD19}" srcOrd="2" destOrd="0" parTransId="{C5F13DBA-011D-4F7B-8E4F-2960C3B47A4E}" sibTransId="{6E7F97B1-CFD0-4F0A-A613-055FFB454F7F}"/>
    <dgm:cxn modelId="{E27F07F0-670E-473D-A194-BAE00ACA8A0D}" type="presOf" srcId="{5E0F84CF-0AB0-4613-9EF3-0006080269CF}" destId="{C960DED6-80E1-4E3F-9A1B-EA64B97FF139}" srcOrd="1" destOrd="0" presId="urn:microsoft.com/office/officeart/2008/layout/HorizontalMultiLevelHierarchy"/>
    <dgm:cxn modelId="{28AD60F2-B221-4F02-AA18-5ECC012A7146}" type="presOf" srcId="{B94964DD-9C44-4B97-8A14-6A0B5707430D}" destId="{DBCD6FB0-C2DE-4902-96DF-C9A6BE941B6F}" srcOrd="0" destOrd="0" presId="urn:microsoft.com/office/officeart/2008/layout/HorizontalMultiLevelHierarchy"/>
    <dgm:cxn modelId="{9CDB65F6-21B8-4BD2-A5E1-667BB1CB5FF9}" type="presOf" srcId="{82DB9DBB-6336-4F54-B925-0DE261B8ACD1}" destId="{2D16C608-8D1F-43AB-8A63-66A61780A5B8}" srcOrd="0" destOrd="0" presId="urn:microsoft.com/office/officeart/2008/layout/HorizontalMultiLevelHierarchy"/>
    <dgm:cxn modelId="{BD316AF6-3D11-4350-A1B9-D7A474F738A1}" type="presOf" srcId="{178E52EA-0C2E-4851-B7EA-1DA7C768C67E}" destId="{BBFCD262-C7A5-4D1A-A5FD-06F6FA06F95B}" srcOrd="1" destOrd="0" presId="urn:microsoft.com/office/officeart/2008/layout/HorizontalMultiLevelHierarchy"/>
    <dgm:cxn modelId="{8216CCF7-3549-4D31-B0C1-69502E08193B}" type="presOf" srcId="{25630D53-5798-43AD-9234-3BE9CD5EC071}" destId="{6BF3AEA1-BAC3-4443-AD86-7276E699A2D7}" srcOrd="0" destOrd="0" presId="urn:microsoft.com/office/officeart/2008/layout/HorizontalMultiLevelHierarchy"/>
    <dgm:cxn modelId="{B37410FA-3EB3-4866-9A1C-1C643EC15CB4}" type="presOf" srcId="{F5C2D7BA-E427-4308-9120-81F49CD8D0B2}" destId="{9789E0F0-ED14-4670-BD91-4D0F3159D9E4}" srcOrd="0" destOrd="0" presId="urn:microsoft.com/office/officeart/2008/layout/HorizontalMultiLevelHierarchy"/>
    <dgm:cxn modelId="{C4B912AE-8CE3-44BE-BBBA-DE759E0EA87F}" type="presParOf" srcId="{A21ABAF8-A113-4DC0-A467-F86D1E457853}" destId="{99B3A049-AD39-4FA8-8ACA-ACB1C6EC2439}" srcOrd="0" destOrd="0" presId="urn:microsoft.com/office/officeart/2008/layout/HorizontalMultiLevelHierarchy"/>
    <dgm:cxn modelId="{CD506B75-C574-4A92-A3FF-742D6070266E}" type="presParOf" srcId="{99B3A049-AD39-4FA8-8ACA-ACB1C6EC2439}" destId="{E589B3FA-F31D-4360-A2B4-140845281945}" srcOrd="0" destOrd="0" presId="urn:microsoft.com/office/officeart/2008/layout/HorizontalMultiLevelHierarchy"/>
    <dgm:cxn modelId="{0E0547E9-7950-4AD8-8C89-B98A13EA9FE8}" type="presParOf" srcId="{99B3A049-AD39-4FA8-8ACA-ACB1C6EC2439}" destId="{7732C83D-7E30-4977-B710-73F501AAB31E}" srcOrd="1" destOrd="0" presId="urn:microsoft.com/office/officeart/2008/layout/HorizontalMultiLevelHierarchy"/>
    <dgm:cxn modelId="{F28DC4E2-6AB6-4D93-9769-F2BB9FDA9066}" type="presParOf" srcId="{7732C83D-7E30-4977-B710-73F501AAB31E}" destId="{E085A80C-5CFB-48C4-99B2-D6D376C04826}" srcOrd="0" destOrd="0" presId="urn:microsoft.com/office/officeart/2008/layout/HorizontalMultiLevelHierarchy"/>
    <dgm:cxn modelId="{50A7298C-121D-4370-97F6-F0450D6BB993}" type="presParOf" srcId="{E085A80C-5CFB-48C4-99B2-D6D376C04826}" destId="{6528EDF7-A7BB-44DC-9FD0-61EE51E019B1}" srcOrd="0" destOrd="0" presId="urn:microsoft.com/office/officeart/2008/layout/HorizontalMultiLevelHierarchy"/>
    <dgm:cxn modelId="{EC03DD12-7EE5-4D64-BEC4-DDFEAB34AC0E}" type="presParOf" srcId="{7732C83D-7E30-4977-B710-73F501AAB31E}" destId="{E3689C5E-C36B-4717-BE63-AB9DDC365FE8}" srcOrd="1" destOrd="0" presId="urn:microsoft.com/office/officeart/2008/layout/HorizontalMultiLevelHierarchy"/>
    <dgm:cxn modelId="{05A54520-486A-4A86-B6CE-AE5AB7428F9E}" type="presParOf" srcId="{E3689C5E-C36B-4717-BE63-AB9DDC365FE8}" destId="{AAA3FC0D-B3C7-455D-8F5A-6F8C59B7F0B4}" srcOrd="0" destOrd="0" presId="urn:microsoft.com/office/officeart/2008/layout/HorizontalMultiLevelHierarchy"/>
    <dgm:cxn modelId="{96C80B49-9CDC-42A1-9D9B-3BD970307918}" type="presParOf" srcId="{E3689C5E-C36B-4717-BE63-AB9DDC365FE8}" destId="{82A49651-D6DC-410D-9E3E-58B613E39FB5}" srcOrd="1" destOrd="0" presId="urn:microsoft.com/office/officeart/2008/layout/HorizontalMultiLevelHierarchy"/>
    <dgm:cxn modelId="{D620CD7C-FA96-4685-BAA7-E63C31334523}" type="presParOf" srcId="{82A49651-D6DC-410D-9E3E-58B613E39FB5}" destId="{BBF2C805-17D2-4DC8-B5E3-47D725742B7F}" srcOrd="0" destOrd="0" presId="urn:microsoft.com/office/officeart/2008/layout/HorizontalMultiLevelHierarchy"/>
    <dgm:cxn modelId="{FF04777D-04F1-42C6-BDD5-467F4446880B}" type="presParOf" srcId="{BBF2C805-17D2-4DC8-B5E3-47D725742B7F}" destId="{3C6183BC-FB2C-4EC1-92D7-265B741142D3}" srcOrd="0" destOrd="0" presId="urn:microsoft.com/office/officeart/2008/layout/HorizontalMultiLevelHierarchy"/>
    <dgm:cxn modelId="{B23ADB0F-6E7A-4763-B9C5-E4ABA549B5B4}" type="presParOf" srcId="{82A49651-D6DC-410D-9E3E-58B613E39FB5}" destId="{885A491E-5EF2-450E-AD73-6C3413DB2044}" srcOrd="1" destOrd="0" presId="urn:microsoft.com/office/officeart/2008/layout/HorizontalMultiLevelHierarchy"/>
    <dgm:cxn modelId="{0E1A9C17-4F93-4D4A-8A83-42D80F11DEF4}" type="presParOf" srcId="{885A491E-5EF2-450E-AD73-6C3413DB2044}" destId="{DBCD6FB0-C2DE-4902-96DF-C9A6BE941B6F}" srcOrd="0" destOrd="0" presId="urn:microsoft.com/office/officeart/2008/layout/HorizontalMultiLevelHierarchy"/>
    <dgm:cxn modelId="{F1B957DF-3369-47FA-9FBA-AFBAEE0D136D}" type="presParOf" srcId="{885A491E-5EF2-450E-AD73-6C3413DB2044}" destId="{BB41CA47-7C73-48D5-BEDB-5C1A4E07870A}" srcOrd="1" destOrd="0" presId="urn:microsoft.com/office/officeart/2008/layout/HorizontalMultiLevelHierarchy"/>
    <dgm:cxn modelId="{F7C501C4-73A6-4ABF-98F2-73595267A296}" type="presParOf" srcId="{7732C83D-7E30-4977-B710-73F501AAB31E}" destId="{2E1E22E1-C9B0-4ED5-BA31-2D60EC78FF4D}" srcOrd="2" destOrd="0" presId="urn:microsoft.com/office/officeart/2008/layout/HorizontalMultiLevelHierarchy"/>
    <dgm:cxn modelId="{2CDE43CC-116C-4CD1-A5A1-C744F58109CD}" type="presParOf" srcId="{2E1E22E1-C9B0-4ED5-BA31-2D60EC78FF4D}" destId="{BBFCD262-C7A5-4D1A-A5FD-06F6FA06F95B}" srcOrd="0" destOrd="0" presId="urn:microsoft.com/office/officeart/2008/layout/HorizontalMultiLevelHierarchy"/>
    <dgm:cxn modelId="{0F4D09DA-C9D3-485E-B02D-579074AF091E}" type="presParOf" srcId="{7732C83D-7E30-4977-B710-73F501AAB31E}" destId="{AA2BE0B2-C259-4E5C-8B8B-D7180D0AF373}" srcOrd="3" destOrd="0" presId="urn:microsoft.com/office/officeart/2008/layout/HorizontalMultiLevelHierarchy"/>
    <dgm:cxn modelId="{B56A06FB-3B4B-44E8-B89F-107817C29966}" type="presParOf" srcId="{AA2BE0B2-C259-4E5C-8B8B-D7180D0AF373}" destId="{E25480DD-CA4A-450B-8249-9F0D8041BB28}" srcOrd="0" destOrd="0" presId="urn:microsoft.com/office/officeart/2008/layout/HorizontalMultiLevelHierarchy"/>
    <dgm:cxn modelId="{B8FDD7E5-7A10-42E9-A39C-8A462A719BFA}" type="presParOf" srcId="{AA2BE0B2-C259-4E5C-8B8B-D7180D0AF373}" destId="{73938E62-AAF8-49EE-B607-532A1A853374}" srcOrd="1" destOrd="0" presId="urn:microsoft.com/office/officeart/2008/layout/HorizontalMultiLevelHierarchy"/>
    <dgm:cxn modelId="{51E6FBD9-9C51-40C5-A9F4-4BFECA38672D}" type="presParOf" srcId="{7732C83D-7E30-4977-B710-73F501AAB31E}" destId="{CF8F6304-0777-4129-B071-A9BDB9AC4FF3}" srcOrd="4" destOrd="0" presId="urn:microsoft.com/office/officeart/2008/layout/HorizontalMultiLevelHierarchy"/>
    <dgm:cxn modelId="{D7570721-D430-4D14-BE74-8BCE8CEAE01F}" type="presParOf" srcId="{CF8F6304-0777-4129-B071-A9BDB9AC4FF3}" destId="{0C9E4D8C-437F-44C5-9015-190B665B19DD}" srcOrd="0" destOrd="0" presId="urn:microsoft.com/office/officeart/2008/layout/HorizontalMultiLevelHierarchy"/>
    <dgm:cxn modelId="{91F56EA6-2E7D-48D1-AD4F-5C7C00650297}" type="presParOf" srcId="{7732C83D-7E30-4977-B710-73F501AAB31E}" destId="{DE254FA5-1425-4B42-8D4B-BE41894CE951}" srcOrd="5" destOrd="0" presId="urn:microsoft.com/office/officeart/2008/layout/HorizontalMultiLevelHierarchy"/>
    <dgm:cxn modelId="{1F98F7BC-BB1A-4EAA-A803-5BD4F65AA955}" type="presParOf" srcId="{DE254FA5-1425-4B42-8D4B-BE41894CE951}" destId="{965A06B0-48F4-43A6-ADD2-1E7ABE1821B4}" srcOrd="0" destOrd="0" presId="urn:microsoft.com/office/officeart/2008/layout/HorizontalMultiLevelHierarchy"/>
    <dgm:cxn modelId="{60B9A2DE-6278-4ABA-9329-F3EF41FD5E6A}" type="presParOf" srcId="{DE254FA5-1425-4B42-8D4B-BE41894CE951}" destId="{6ACCB1A2-FE30-434D-BE8E-71C3745A7C45}" srcOrd="1" destOrd="0" presId="urn:microsoft.com/office/officeart/2008/layout/HorizontalMultiLevelHierarchy"/>
    <dgm:cxn modelId="{DCF2820F-7CFF-47F4-93FE-B5FFEB3F7381}" type="presParOf" srcId="{7732C83D-7E30-4977-B710-73F501AAB31E}" destId="{10065D86-6EE3-4102-A9A2-9ADAD6F89481}" srcOrd="6" destOrd="0" presId="urn:microsoft.com/office/officeart/2008/layout/HorizontalMultiLevelHierarchy"/>
    <dgm:cxn modelId="{CFEDBC1A-D88C-4919-83E8-7ADC52B8F928}" type="presParOf" srcId="{10065D86-6EE3-4102-A9A2-9ADAD6F89481}" destId="{469CEF6C-0A52-4E0D-9B1B-70794A75AF34}" srcOrd="0" destOrd="0" presId="urn:microsoft.com/office/officeart/2008/layout/HorizontalMultiLevelHierarchy"/>
    <dgm:cxn modelId="{2491FAEA-026E-4829-B034-2F748C7B3D71}" type="presParOf" srcId="{7732C83D-7E30-4977-B710-73F501AAB31E}" destId="{27F5A426-9733-47EA-94DB-C772E751320D}" srcOrd="7" destOrd="0" presId="urn:microsoft.com/office/officeart/2008/layout/HorizontalMultiLevelHierarchy"/>
    <dgm:cxn modelId="{DE9074EB-0D27-4558-ACAF-25F891D13ED9}" type="presParOf" srcId="{27F5A426-9733-47EA-94DB-C772E751320D}" destId="{1526E125-DA56-4639-B3BC-384DE375F35C}" srcOrd="0" destOrd="0" presId="urn:microsoft.com/office/officeart/2008/layout/HorizontalMultiLevelHierarchy"/>
    <dgm:cxn modelId="{775EED34-CD47-405C-9AC0-3C848F5B1164}" type="presParOf" srcId="{27F5A426-9733-47EA-94DB-C772E751320D}" destId="{B2F29009-826D-4438-B1E0-AA89D18ABA41}" srcOrd="1" destOrd="0" presId="urn:microsoft.com/office/officeart/2008/layout/HorizontalMultiLevelHierarchy"/>
    <dgm:cxn modelId="{E080B8FB-FB37-4239-873B-FCAEFDA088B2}" type="presParOf" srcId="{B2F29009-826D-4438-B1E0-AA89D18ABA41}" destId="{19EF9AD3-5FD6-4D1C-B3A9-52D39D1C5BE1}" srcOrd="0" destOrd="0" presId="urn:microsoft.com/office/officeart/2008/layout/HorizontalMultiLevelHierarchy"/>
    <dgm:cxn modelId="{B6F7D03D-800C-4E87-85F8-6FEBFE1049E1}" type="presParOf" srcId="{19EF9AD3-5FD6-4D1C-B3A9-52D39D1C5BE1}" destId="{CDF34926-F295-4E91-9EB5-F915FCACB496}" srcOrd="0" destOrd="0" presId="urn:microsoft.com/office/officeart/2008/layout/HorizontalMultiLevelHierarchy"/>
    <dgm:cxn modelId="{5381D5F3-1D7B-464E-AB17-28A81753B39D}" type="presParOf" srcId="{B2F29009-826D-4438-B1E0-AA89D18ABA41}" destId="{588669CB-1977-4065-AEEE-FE48DC092619}" srcOrd="1" destOrd="0" presId="urn:microsoft.com/office/officeart/2008/layout/HorizontalMultiLevelHierarchy"/>
    <dgm:cxn modelId="{D543F6B6-944B-450F-9AF6-71954D9F3194}" type="presParOf" srcId="{588669CB-1977-4065-AEEE-FE48DC092619}" destId="{B38EB279-E80D-4AD4-9C62-5D90B36B9284}" srcOrd="0" destOrd="0" presId="urn:microsoft.com/office/officeart/2008/layout/HorizontalMultiLevelHierarchy"/>
    <dgm:cxn modelId="{CA196802-8D83-44CB-8897-FA3818223023}" type="presParOf" srcId="{588669CB-1977-4065-AEEE-FE48DC092619}" destId="{47E7813B-C75A-4622-B125-3BA920C13864}" srcOrd="1" destOrd="0" presId="urn:microsoft.com/office/officeart/2008/layout/HorizontalMultiLevelHierarchy"/>
    <dgm:cxn modelId="{57EEB961-A60E-434A-A338-2E9B6A7BEBCD}" type="presParOf" srcId="{B2F29009-826D-4438-B1E0-AA89D18ABA41}" destId="{98E3291E-7029-4963-B075-905A3389F451}" srcOrd="2" destOrd="0" presId="urn:microsoft.com/office/officeart/2008/layout/HorizontalMultiLevelHierarchy"/>
    <dgm:cxn modelId="{7020046B-F3FD-4493-9285-AA076D6663ED}" type="presParOf" srcId="{98E3291E-7029-4963-B075-905A3389F451}" destId="{7DC15490-470C-48D6-AC56-31E76E845593}" srcOrd="0" destOrd="0" presId="urn:microsoft.com/office/officeart/2008/layout/HorizontalMultiLevelHierarchy"/>
    <dgm:cxn modelId="{38D33554-F644-4747-99B3-56318351EE8D}" type="presParOf" srcId="{B2F29009-826D-4438-B1E0-AA89D18ABA41}" destId="{10A8EA58-CB4B-41C6-B7B4-07291B615DC3}" srcOrd="3" destOrd="0" presId="urn:microsoft.com/office/officeart/2008/layout/HorizontalMultiLevelHierarchy"/>
    <dgm:cxn modelId="{BBE79C57-221A-4EED-94CF-0DC2FB24FA9C}" type="presParOf" srcId="{10A8EA58-CB4B-41C6-B7B4-07291B615DC3}" destId="{B4D36503-C9B1-4DC2-A75D-9C86EDCEDC7A}" srcOrd="0" destOrd="0" presId="urn:microsoft.com/office/officeart/2008/layout/HorizontalMultiLevelHierarchy"/>
    <dgm:cxn modelId="{CC575106-17BC-4094-8FB1-7BF4B6230339}" type="presParOf" srcId="{10A8EA58-CB4B-41C6-B7B4-07291B615DC3}" destId="{90ACD4A7-8D0C-4CCE-A46B-C3120195CC86}" srcOrd="1" destOrd="0" presId="urn:microsoft.com/office/officeart/2008/layout/HorizontalMultiLevelHierarchy"/>
    <dgm:cxn modelId="{4D416912-5A43-4720-BFD3-4C3781C5B517}" type="presParOf" srcId="{90ACD4A7-8D0C-4CCE-A46B-C3120195CC86}" destId="{72C81662-F6ED-4F54-BDBB-E09F84BC452C}" srcOrd="0" destOrd="0" presId="urn:microsoft.com/office/officeart/2008/layout/HorizontalMultiLevelHierarchy"/>
    <dgm:cxn modelId="{E901697D-FB01-4595-BEF1-581717C978A7}" type="presParOf" srcId="{72C81662-F6ED-4F54-BDBB-E09F84BC452C}" destId="{C960DED6-80E1-4E3F-9A1B-EA64B97FF139}" srcOrd="0" destOrd="0" presId="urn:microsoft.com/office/officeart/2008/layout/HorizontalMultiLevelHierarchy"/>
    <dgm:cxn modelId="{66D038E4-E198-48D4-9BE3-6F266201F51A}" type="presParOf" srcId="{90ACD4A7-8D0C-4CCE-A46B-C3120195CC86}" destId="{F6EF19FE-8591-4708-9479-BB8A021D48A8}" srcOrd="1" destOrd="0" presId="urn:microsoft.com/office/officeart/2008/layout/HorizontalMultiLevelHierarchy"/>
    <dgm:cxn modelId="{38914092-A41E-4C65-8BCC-4524907875EB}" type="presParOf" srcId="{F6EF19FE-8591-4708-9479-BB8A021D48A8}" destId="{53FA902C-1915-4D1D-8BC5-736E515412DB}" srcOrd="0" destOrd="0" presId="urn:microsoft.com/office/officeart/2008/layout/HorizontalMultiLevelHierarchy"/>
    <dgm:cxn modelId="{54A82CFB-2D16-478E-93DD-C72C4977491D}" type="presParOf" srcId="{F6EF19FE-8591-4708-9479-BB8A021D48A8}" destId="{21FA0C71-C31D-462A-84F5-B5C2AA9076E7}" srcOrd="1" destOrd="0" presId="urn:microsoft.com/office/officeart/2008/layout/HorizontalMultiLevelHierarchy"/>
    <dgm:cxn modelId="{45420447-A78A-4DFC-8427-D8F6B2802D32}" type="presParOf" srcId="{90ACD4A7-8D0C-4CCE-A46B-C3120195CC86}" destId="{92A5F87C-49DE-44DE-8F08-B57ADC116640}" srcOrd="2" destOrd="0" presId="urn:microsoft.com/office/officeart/2008/layout/HorizontalMultiLevelHierarchy"/>
    <dgm:cxn modelId="{B51FC14F-C3C3-4392-8B20-8158B4AE8845}" type="presParOf" srcId="{92A5F87C-49DE-44DE-8F08-B57ADC116640}" destId="{62EA3426-BA05-43A9-9E5A-0A7BBB50879B}" srcOrd="0" destOrd="0" presId="urn:microsoft.com/office/officeart/2008/layout/HorizontalMultiLevelHierarchy"/>
    <dgm:cxn modelId="{FFD18AF2-1CBD-4094-8667-29590E570C3D}" type="presParOf" srcId="{90ACD4A7-8D0C-4CCE-A46B-C3120195CC86}" destId="{9CCA3776-DB08-4E6A-9906-73AF1D3E3F6A}" srcOrd="3" destOrd="0" presId="urn:microsoft.com/office/officeart/2008/layout/HorizontalMultiLevelHierarchy"/>
    <dgm:cxn modelId="{F76F1C86-042E-4473-8CA5-A8A57B6753A0}" type="presParOf" srcId="{9CCA3776-DB08-4E6A-9906-73AF1D3E3F6A}" destId="{6BF3AEA1-BAC3-4443-AD86-7276E699A2D7}" srcOrd="0" destOrd="0" presId="urn:microsoft.com/office/officeart/2008/layout/HorizontalMultiLevelHierarchy"/>
    <dgm:cxn modelId="{A61A7F25-BACE-4F07-AE62-5752E846E042}" type="presParOf" srcId="{9CCA3776-DB08-4E6A-9906-73AF1D3E3F6A}" destId="{4528DEA2-F33D-4629-84CD-96CF5DB058CC}" srcOrd="1" destOrd="0" presId="urn:microsoft.com/office/officeart/2008/layout/HorizontalMultiLevelHierarchy"/>
    <dgm:cxn modelId="{17D34CB5-DA6D-426F-A661-F378D2742FB0}" type="presParOf" srcId="{90ACD4A7-8D0C-4CCE-A46B-C3120195CC86}" destId="{A54E28A5-F11F-44A7-A793-BB330E707504}" srcOrd="4" destOrd="0" presId="urn:microsoft.com/office/officeart/2008/layout/HorizontalMultiLevelHierarchy"/>
    <dgm:cxn modelId="{CD259F18-4B30-4A4D-9946-6E393A13484B}" type="presParOf" srcId="{A54E28A5-F11F-44A7-A793-BB330E707504}" destId="{019E5118-0E31-4420-8D79-8E88CFA12D3D}" srcOrd="0" destOrd="0" presId="urn:microsoft.com/office/officeart/2008/layout/HorizontalMultiLevelHierarchy"/>
    <dgm:cxn modelId="{55EBEAAB-86BF-4B8D-A9AC-B6DF7865D9B4}" type="presParOf" srcId="{90ACD4A7-8D0C-4CCE-A46B-C3120195CC86}" destId="{5F8DED7C-F6D0-461F-B90B-E7BBCD92E727}" srcOrd="5" destOrd="0" presId="urn:microsoft.com/office/officeart/2008/layout/HorizontalMultiLevelHierarchy"/>
    <dgm:cxn modelId="{95CAB663-791D-441B-B478-02DEA48ED48E}" type="presParOf" srcId="{5F8DED7C-F6D0-461F-B90B-E7BBCD92E727}" destId="{05406DA6-8C74-41E1-A2A4-3DFDB29347D7}" srcOrd="0" destOrd="0" presId="urn:microsoft.com/office/officeart/2008/layout/HorizontalMultiLevelHierarchy"/>
    <dgm:cxn modelId="{0FA9AE5E-CB36-45AF-94AE-12700E001506}" type="presParOf" srcId="{5F8DED7C-F6D0-461F-B90B-E7BBCD92E727}" destId="{4430D1B7-0E83-4F9F-AF19-91475C236205}" srcOrd="1" destOrd="0" presId="urn:microsoft.com/office/officeart/2008/layout/HorizontalMultiLevelHierarchy"/>
    <dgm:cxn modelId="{C6DD1C34-C603-41EC-8741-47BA4E5001E5}" type="presParOf" srcId="{B2F29009-826D-4438-B1E0-AA89D18ABA41}" destId="{0F290A14-8258-4054-B7B7-1C05F4891EB2}" srcOrd="4" destOrd="0" presId="urn:microsoft.com/office/officeart/2008/layout/HorizontalMultiLevelHierarchy"/>
    <dgm:cxn modelId="{4909AB9E-9954-430B-A3EC-8E6B1BC763BD}" type="presParOf" srcId="{0F290A14-8258-4054-B7B7-1C05F4891EB2}" destId="{758E2993-C4A0-473E-8CE5-E76AA0C33123}" srcOrd="0" destOrd="0" presId="urn:microsoft.com/office/officeart/2008/layout/HorizontalMultiLevelHierarchy"/>
    <dgm:cxn modelId="{A32DF2E2-4794-49FF-8B7F-E56FAA3B79F4}" type="presParOf" srcId="{B2F29009-826D-4438-B1E0-AA89D18ABA41}" destId="{C0838FE4-B7B2-40BA-A21A-49E730B41202}" srcOrd="5" destOrd="0" presId="urn:microsoft.com/office/officeart/2008/layout/HorizontalMultiLevelHierarchy"/>
    <dgm:cxn modelId="{89C9E205-6242-464A-AA2F-AA063B4E0CC1}" type="presParOf" srcId="{C0838FE4-B7B2-40BA-A21A-49E730B41202}" destId="{8F5B3C9D-DB52-4F11-8044-1064D5AA4042}" srcOrd="0" destOrd="0" presId="urn:microsoft.com/office/officeart/2008/layout/HorizontalMultiLevelHierarchy"/>
    <dgm:cxn modelId="{2562FF33-44E0-406C-963A-D7181675131A}" type="presParOf" srcId="{C0838FE4-B7B2-40BA-A21A-49E730B41202}" destId="{59B4AFDB-DF8F-490B-8024-C5CFA02E0177}" srcOrd="1" destOrd="0" presId="urn:microsoft.com/office/officeart/2008/layout/HorizontalMultiLevelHierarchy"/>
    <dgm:cxn modelId="{C3CB34DC-611B-41E8-8B6E-63C50E33DD53}" type="presParOf" srcId="{7732C83D-7E30-4977-B710-73F501AAB31E}" destId="{772B6672-0C25-4339-AFB5-5377C5A5918B}" srcOrd="8" destOrd="0" presId="urn:microsoft.com/office/officeart/2008/layout/HorizontalMultiLevelHierarchy"/>
    <dgm:cxn modelId="{9712F98A-2A80-44CD-8C3D-0A03D0B63D93}" type="presParOf" srcId="{772B6672-0C25-4339-AFB5-5377C5A5918B}" destId="{8B5D76F0-E654-41CF-A0AD-DF0D56D22DD0}" srcOrd="0" destOrd="0" presId="urn:microsoft.com/office/officeart/2008/layout/HorizontalMultiLevelHierarchy"/>
    <dgm:cxn modelId="{F4FC2C76-A684-4D2C-ADC4-40653003255A}" type="presParOf" srcId="{7732C83D-7E30-4977-B710-73F501AAB31E}" destId="{3F7F59B9-DF68-4243-99B1-8BA5676E620D}" srcOrd="9" destOrd="0" presId="urn:microsoft.com/office/officeart/2008/layout/HorizontalMultiLevelHierarchy"/>
    <dgm:cxn modelId="{3600F71C-8D86-4932-A2A0-C2BD0B9D91AD}" type="presParOf" srcId="{3F7F59B9-DF68-4243-99B1-8BA5676E620D}" destId="{BD077F20-BB78-41A0-9FCB-BA36747F0311}" srcOrd="0" destOrd="0" presId="urn:microsoft.com/office/officeart/2008/layout/HorizontalMultiLevelHierarchy"/>
    <dgm:cxn modelId="{B047F120-6001-4D3E-B338-219D2E3A2486}" type="presParOf" srcId="{3F7F59B9-DF68-4243-99B1-8BA5676E620D}" destId="{DB3A152A-679C-4BDA-A889-ACB908AE402D}" srcOrd="1" destOrd="0" presId="urn:microsoft.com/office/officeart/2008/layout/HorizontalMultiLevelHierarchy"/>
    <dgm:cxn modelId="{236D4D01-108D-4029-9AE4-B093DF5FF559}" type="presParOf" srcId="{DB3A152A-679C-4BDA-A889-ACB908AE402D}" destId="{9789E0F0-ED14-4670-BD91-4D0F3159D9E4}" srcOrd="0" destOrd="0" presId="urn:microsoft.com/office/officeart/2008/layout/HorizontalMultiLevelHierarchy"/>
    <dgm:cxn modelId="{20C25CA7-E354-4834-BC9B-800EF8726CD8}" type="presParOf" srcId="{9789E0F0-ED14-4670-BD91-4D0F3159D9E4}" destId="{52EE5D87-2C86-4CD7-9EC9-03AA7BE2797C}" srcOrd="0" destOrd="0" presId="urn:microsoft.com/office/officeart/2008/layout/HorizontalMultiLevelHierarchy"/>
    <dgm:cxn modelId="{580615F1-67A7-4A79-8E5C-E75A6F4D8DE5}" type="presParOf" srcId="{DB3A152A-679C-4BDA-A889-ACB908AE402D}" destId="{2A5A2B1F-7A12-47C9-8769-12A97DD500EB}" srcOrd="1" destOrd="0" presId="urn:microsoft.com/office/officeart/2008/layout/HorizontalMultiLevelHierarchy"/>
    <dgm:cxn modelId="{E709CB7A-7D65-4C8B-9602-2887BB6BF453}" type="presParOf" srcId="{2A5A2B1F-7A12-47C9-8769-12A97DD500EB}" destId="{D12B2D03-7757-4C90-A6F5-E811CD885F06}" srcOrd="0" destOrd="0" presId="urn:microsoft.com/office/officeart/2008/layout/HorizontalMultiLevelHierarchy"/>
    <dgm:cxn modelId="{E24A85F9-9095-4063-B59F-27D7A805B373}" type="presParOf" srcId="{2A5A2B1F-7A12-47C9-8769-12A97DD500EB}" destId="{1B0A2AFA-2FCD-4DE2-B6F5-437E3A99EF1A}" srcOrd="1" destOrd="0" presId="urn:microsoft.com/office/officeart/2008/layout/HorizontalMultiLevelHierarchy"/>
    <dgm:cxn modelId="{1100BA55-7802-46D1-AAA7-9AE6F5F1924F}" type="presParOf" srcId="{DB3A152A-679C-4BDA-A889-ACB908AE402D}" destId="{2D16C608-8D1F-43AB-8A63-66A61780A5B8}" srcOrd="2" destOrd="0" presId="urn:microsoft.com/office/officeart/2008/layout/HorizontalMultiLevelHierarchy"/>
    <dgm:cxn modelId="{08357796-6E43-4EC5-8598-A9319B6A9D76}" type="presParOf" srcId="{2D16C608-8D1F-43AB-8A63-66A61780A5B8}" destId="{54C68D7E-9BD5-4BD5-9702-A95826246C1A}" srcOrd="0" destOrd="0" presId="urn:microsoft.com/office/officeart/2008/layout/HorizontalMultiLevelHierarchy"/>
    <dgm:cxn modelId="{E88D670B-1486-42F7-8946-CCEBD641DC6C}" type="presParOf" srcId="{DB3A152A-679C-4BDA-A889-ACB908AE402D}" destId="{CF28DA96-1EC6-4A96-8BB2-EC6BA612BE04}" srcOrd="3" destOrd="0" presId="urn:microsoft.com/office/officeart/2008/layout/HorizontalMultiLevelHierarchy"/>
    <dgm:cxn modelId="{0E27A155-9A7A-4934-BD43-5316511BF823}" type="presParOf" srcId="{CF28DA96-1EC6-4A96-8BB2-EC6BA612BE04}" destId="{D787A572-2C42-498C-8801-8F0C3CDCFFA8}" srcOrd="0" destOrd="0" presId="urn:microsoft.com/office/officeart/2008/layout/HorizontalMultiLevelHierarchy"/>
    <dgm:cxn modelId="{D50E6B74-803F-4A4F-8EA3-B0BDE35EB08D}" type="presParOf" srcId="{CF28DA96-1EC6-4A96-8BB2-EC6BA612BE04}" destId="{B805CCE8-C691-416F-A26F-BA1BD252244A}" srcOrd="1" destOrd="0" presId="urn:microsoft.com/office/officeart/2008/layout/HorizontalMultiLevelHierarchy"/>
    <dgm:cxn modelId="{E5DC91D3-A539-4667-8466-5F7A9B4A89BE}" type="presParOf" srcId="{DB3A152A-679C-4BDA-A889-ACB908AE402D}" destId="{10CC8ABE-BCD1-4D31-9BB2-B40FE9B8F17B}" srcOrd="4" destOrd="0" presId="urn:microsoft.com/office/officeart/2008/layout/HorizontalMultiLevelHierarchy"/>
    <dgm:cxn modelId="{720C831F-716B-4914-AF5E-5426D4C89B2F}" type="presParOf" srcId="{10CC8ABE-BCD1-4D31-9BB2-B40FE9B8F17B}" destId="{0DBEAF5D-3704-4F77-8383-4F97A68A4FD6}" srcOrd="0" destOrd="0" presId="urn:microsoft.com/office/officeart/2008/layout/HorizontalMultiLevelHierarchy"/>
    <dgm:cxn modelId="{B5E1809C-75CA-428E-94B5-7BF7EC840639}" type="presParOf" srcId="{DB3A152A-679C-4BDA-A889-ACB908AE402D}" destId="{EA5D8D60-B0A0-4A40-BA2D-887DF35A535F}" srcOrd="5" destOrd="0" presId="urn:microsoft.com/office/officeart/2008/layout/HorizontalMultiLevelHierarchy"/>
    <dgm:cxn modelId="{F30D4D92-15DA-462A-A94C-889B4AA11E85}" type="presParOf" srcId="{EA5D8D60-B0A0-4A40-BA2D-887DF35A535F}" destId="{283E850A-BC92-46E2-9AF8-6775B0444780}" srcOrd="0" destOrd="0" presId="urn:microsoft.com/office/officeart/2008/layout/HorizontalMultiLevelHierarchy"/>
    <dgm:cxn modelId="{B4052BE8-598D-415C-9042-71966F174B56}" type="presParOf" srcId="{EA5D8D60-B0A0-4A40-BA2D-887DF35A535F}" destId="{FA08F58C-EE1F-40BB-9090-FB534811DC56}" srcOrd="1" destOrd="0" presId="urn:microsoft.com/office/officeart/2008/layout/HorizontalMultiLevelHierarchy"/>
    <dgm:cxn modelId="{4A03B7C4-91A1-4633-AFD0-97AB60D92FA8}" type="presParOf" srcId="{DB3A152A-679C-4BDA-A889-ACB908AE402D}" destId="{4FF16733-50D9-48F3-850E-1A6405EADDD3}" srcOrd="6" destOrd="0" presId="urn:microsoft.com/office/officeart/2008/layout/HorizontalMultiLevelHierarchy"/>
    <dgm:cxn modelId="{E828E5DC-53A9-4A5C-810D-E085EFBE636F}" type="presParOf" srcId="{4FF16733-50D9-48F3-850E-1A6405EADDD3}" destId="{86422520-F8E0-41E1-BEC3-7989B9B7B558}" srcOrd="0" destOrd="0" presId="urn:microsoft.com/office/officeart/2008/layout/HorizontalMultiLevelHierarchy"/>
    <dgm:cxn modelId="{698E94E9-9ECD-4531-9F0E-C07D45CC97F4}" type="presParOf" srcId="{DB3A152A-679C-4BDA-A889-ACB908AE402D}" destId="{42D51849-7610-44A8-AE4C-BEB197A4976B}" srcOrd="7" destOrd="0" presId="urn:microsoft.com/office/officeart/2008/layout/HorizontalMultiLevelHierarchy"/>
    <dgm:cxn modelId="{3C76B584-8006-4AC9-AAA0-FD94B86D36E1}" type="presParOf" srcId="{42D51849-7610-44A8-AE4C-BEB197A4976B}" destId="{F4005958-72C7-401B-8F2D-AB7AD97B8B42}" srcOrd="0" destOrd="0" presId="urn:microsoft.com/office/officeart/2008/layout/HorizontalMultiLevelHierarchy"/>
    <dgm:cxn modelId="{E2036D32-888E-47AB-88BE-1F3B90E820B2}" type="presParOf" srcId="{42D51849-7610-44A8-AE4C-BEB197A4976B}" destId="{AB150661-2152-45A6-A419-45473B30B2B7}"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B35BDE-45F4-4620-BC47-B242F79C627A}" type="doc">
      <dgm:prSet loTypeId="urn:microsoft.com/office/officeart/2005/8/layout/orgChart1" loCatId="hierarchy" qsTypeId="urn:microsoft.com/office/officeart/2005/8/quickstyle/3d3" qsCatId="3D" csTypeId="urn:microsoft.com/office/officeart/2005/8/colors/accent0_2" csCatId="mainScheme" phldr="1"/>
      <dgm:spPr/>
      <dgm:t>
        <a:bodyPr/>
        <a:lstStyle/>
        <a:p>
          <a:endParaRPr lang="en-IN"/>
        </a:p>
      </dgm:t>
    </dgm:pt>
    <dgm:pt modelId="{58ED702D-309F-4503-ADCB-C16AED49D934}">
      <dgm:prSet phldrT="[Text]" custT="1"/>
      <dgm:spPr/>
      <dgm:t>
        <a:bodyPr/>
        <a:lstStyle/>
        <a:p>
          <a:r>
            <a:rPr lang="en-US" sz="1200" b="0" dirty="0">
              <a:solidFill>
                <a:schemeClr val="tx1"/>
              </a:solidFill>
              <a:latin typeface="Times New Roman" panose="02020603050405020304" pitchFamily="18" charset="0"/>
              <a:cs typeface="Times New Roman" panose="02020603050405020304" pitchFamily="18" charset="0"/>
            </a:rPr>
            <a:t>QA Department</a:t>
          </a:r>
          <a:endParaRPr lang="en-IN" sz="1200" b="0" dirty="0">
            <a:solidFill>
              <a:schemeClr val="tx1"/>
            </a:solidFill>
            <a:latin typeface="Times New Roman" panose="02020603050405020304" pitchFamily="18" charset="0"/>
            <a:cs typeface="Times New Roman" panose="02020603050405020304" pitchFamily="18" charset="0"/>
          </a:endParaRPr>
        </a:p>
      </dgm:t>
    </dgm:pt>
    <dgm:pt modelId="{CA34761E-A8A2-4907-8D53-F14BBE6D5825}" type="parTrans" cxnId="{4BEEA0F9-947C-4E4E-9AE5-AF5E54A3BBB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E787D7A0-2655-4E22-B21D-FD409D5881FC}" type="sibTrans" cxnId="{4BEEA0F9-947C-4E4E-9AE5-AF5E54A3BBB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2812D489-4A4F-462A-9B24-D2B6C0961F84}">
      <dgm:prSet custT="1"/>
      <dgm:spPr/>
      <dgm:t>
        <a:bodyPr/>
        <a:lstStyle/>
        <a:p>
          <a:r>
            <a:rPr lang="en-US" sz="1200" b="0" dirty="0">
              <a:solidFill>
                <a:schemeClr val="tx1"/>
              </a:solidFill>
              <a:latin typeface="Times New Roman" panose="02020603050405020304" pitchFamily="18" charset="0"/>
              <a:cs typeface="Times New Roman" panose="02020603050405020304" pitchFamily="18" charset="0"/>
            </a:rPr>
            <a:t>DGM</a:t>
          </a:r>
          <a:endParaRPr lang="en-IN" sz="1200" b="0" dirty="0">
            <a:solidFill>
              <a:schemeClr val="tx1"/>
            </a:solidFill>
            <a:latin typeface="Times New Roman" panose="02020603050405020304" pitchFamily="18" charset="0"/>
            <a:cs typeface="Times New Roman" panose="02020603050405020304" pitchFamily="18" charset="0"/>
          </a:endParaRPr>
        </a:p>
      </dgm:t>
    </dgm:pt>
    <dgm:pt modelId="{F5568B04-3E9D-4428-A057-1F4B436967D9}" type="parTrans" cxnId="{D2C582DE-907B-4F2C-B79D-38E19A287F0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788AAAAB-C2A3-449D-B2A3-B24467D6A53D}" type="sibTrans" cxnId="{D2C582DE-907B-4F2C-B79D-38E19A287F0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DA1D3E1E-E2FA-4984-BCA3-DCC60CBF06E6}">
      <dgm:prSet custT="1"/>
      <dgm:spPr/>
      <dgm:t>
        <a:bodyPr/>
        <a:lstStyle/>
        <a:p>
          <a:r>
            <a:rPr lang="en-US" sz="1200" b="0" dirty="0">
              <a:solidFill>
                <a:schemeClr val="tx1"/>
              </a:solidFill>
              <a:latin typeface="Times New Roman" panose="02020603050405020304" pitchFamily="18" charset="0"/>
              <a:cs typeface="Times New Roman" panose="02020603050405020304" pitchFamily="18" charset="0"/>
            </a:rPr>
            <a:t>Executive</a:t>
          </a:r>
          <a:endParaRPr lang="en-IN" sz="1200" b="0" dirty="0">
            <a:solidFill>
              <a:schemeClr val="tx1"/>
            </a:solidFill>
            <a:latin typeface="Times New Roman" panose="02020603050405020304" pitchFamily="18" charset="0"/>
            <a:cs typeface="Times New Roman" panose="02020603050405020304" pitchFamily="18" charset="0"/>
          </a:endParaRPr>
        </a:p>
      </dgm:t>
    </dgm:pt>
    <dgm:pt modelId="{CE686DC4-9413-4FC7-9B62-52165A46A0A6}" type="parTrans" cxnId="{4A77C510-1239-41C2-A281-CB606E1709EC}">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F2846CC0-AD42-484C-A865-F52B57E38AE3}" type="sibTrans" cxnId="{4A77C510-1239-41C2-A281-CB606E1709EC}">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FE7A343D-1E46-4E9B-905F-BD0921902587}">
      <dgm:prSet custT="1"/>
      <dgm:spPr/>
      <dgm:t>
        <a:bodyPr/>
        <a:lstStyle/>
        <a:p>
          <a:r>
            <a:rPr lang="en-US" sz="1200" b="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cap="none" spc="0" dirty="0">
            <a:ln w="0"/>
            <a:solidFill>
              <a:schemeClr val="tx1"/>
            </a:solidFill>
            <a:effectLst/>
            <a:latin typeface="Times New Roman" panose="02020603050405020304" pitchFamily="18" charset="0"/>
            <a:cs typeface="Times New Roman" panose="02020603050405020304" pitchFamily="18" charset="0"/>
          </a:endParaRPr>
        </a:p>
      </dgm:t>
    </dgm:pt>
    <dgm:pt modelId="{88E42B06-8556-4C9D-BF61-A19FDA497973}" type="parTrans" cxnId="{8DAA529A-9473-4124-9925-E68C6F2D128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EA0F38A3-599C-4157-8C0F-D800A56C27E2}" type="sibTrans" cxnId="{8DAA529A-9473-4124-9925-E68C6F2D128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AEB2728B-91E3-45D2-BEE4-FE8ABF3BCE83}">
      <dgm:prSet custT="1"/>
      <dgm:spPr/>
      <dgm:t>
        <a:bodyPr/>
        <a:lstStyle/>
        <a:p>
          <a:r>
            <a:rPr lang="en-US" sz="1200" b="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dirty="0">
            <a:solidFill>
              <a:schemeClr val="tx1"/>
            </a:solidFill>
            <a:effectLst/>
            <a:latin typeface="Times New Roman" panose="02020603050405020304" pitchFamily="18" charset="0"/>
            <a:cs typeface="Times New Roman" panose="02020603050405020304" pitchFamily="18" charset="0"/>
          </a:endParaRPr>
        </a:p>
      </dgm:t>
    </dgm:pt>
    <dgm:pt modelId="{A53CCEE4-17DD-49B8-B3CA-AB208D18E280}" type="parTrans" cxnId="{7A019377-3C31-4360-AB59-478D17B7B3AD}">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FDC05792-CD05-419E-B2EF-5BAD38F6A487}" type="sibTrans" cxnId="{7A019377-3C31-4360-AB59-478D17B7B3AD}">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244AE5E7-61F3-4CA6-8004-4F1558F4D4F7}">
      <dgm:prSet custT="1"/>
      <dgm:spPr/>
      <dgm:t>
        <a:bodyPr/>
        <a:lstStyle/>
        <a:p>
          <a:r>
            <a:rPr lang="en-US" sz="1200" b="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cap="none" spc="0" dirty="0">
            <a:ln w="0"/>
            <a:solidFill>
              <a:schemeClr val="tx1"/>
            </a:solidFill>
            <a:effectLst/>
            <a:latin typeface="Times New Roman" panose="02020603050405020304" pitchFamily="18" charset="0"/>
            <a:cs typeface="Times New Roman" panose="02020603050405020304" pitchFamily="18" charset="0"/>
          </a:endParaRPr>
        </a:p>
      </dgm:t>
    </dgm:pt>
    <dgm:pt modelId="{9A39B65E-DF15-4CEF-9F6C-AE6D4CF68DC0}" type="parTrans" cxnId="{F0ED2DEB-9C32-4028-985F-BF6FBC9F637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1249BB1D-E4A6-4E27-B98A-F68A925BAF02}" type="sibTrans" cxnId="{F0ED2DEB-9C32-4028-985F-BF6FBC9F6370}">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C39DCCFF-5C8B-4A19-A0C8-C9FB1FAFA8F4}">
      <dgm:prSet custT="1"/>
      <dgm:spPr/>
      <dgm:t>
        <a:bodyPr/>
        <a:lstStyle/>
        <a:p>
          <a:r>
            <a:rPr lang="en-US" sz="1200" b="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cap="none" spc="0" dirty="0">
            <a:ln w="0"/>
            <a:solidFill>
              <a:schemeClr val="tx1"/>
            </a:solidFill>
            <a:effectLst/>
            <a:latin typeface="Times New Roman" panose="02020603050405020304" pitchFamily="18" charset="0"/>
            <a:cs typeface="Times New Roman" panose="02020603050405020304" pitchFamily="18" charset="0"/>
          </a:endParaRPr>
        </a:p>
      </dgm:t>
    </dgm:pt>
    <dgm:pt modelId="{98250640-A1D4-4AB1-A1F2-9C43680D56B5}" type="parTrans" cxnId="{050C028D-FC00-4F99-BAAF-809A6940AA5B}">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3316AA08-0EDA-4F9C-B3CE-F3F14A906F01}" type="sibTrans" cxnId="{050C028D-FC00-4F99-BAAF-809A6940AA5B}">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59DB0FFE-626D-4EF6-8EA4-ADDF57553C3A}">
      <dgm:prSet custT="1"/>
      <dgm:spPr/>
      <dgm:t>
        <a:bodyPr/>
        <a:lstStyle/>
        <a:p>
          <a:r>
            <a:rPr lang="en-US" sz="1200" b="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cap="none" spc="0" dirty="0">
            <a:ln w="0"/>
            <a:solidFill>
              <a:schemeClr val="tx1"/>
            </a:solidFill>
            <a:effectLst/>
            <a:latin typeface="Times New Roman" panose="02020603050405020304" pitchFamily="18" charset="0"/>
            <a:cs typeface="Times New Roman" panose="02020603050405020304" pitchFamily="18" charset="0"/>
          </a:endParaRPr>
        </a:p>
      </dgm:t>
    </dgm:pt>
    <dgm:pt modelId="{7553FA96-3A1B-49C7-ACE0-5FBBF0E38094}" type="parTrans" cxnId="{82B15DB3-E3AB-4656-9F08-67E25A70D687}">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81F7CED3-3B39-4925-8F7F-3E1ECCC46531}" type="sibTrans" cxnId="{82B15DB3-E3AB-4656-9F08-67E25A70D687}">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A34562FB-F54B-46E1-8A96-B00B86874DC2}">
      <dgm:prSet custT="1"/>
      <dgm:spPr/>
      <dgm:t>
        <a:bodyPr/>
        <a:lstStyle/>
        <a:p>
          <a:r>
            <a:rPr lang="en-US" sz="1200" b="0" dirty="0">
              <a:solidFill>
                <a:schemeClr val="tx1"/>
              </a:solidFill>
              <a:latin typeface="Times New Roman" panose="02020603050405020304" pitchFamily="18" charset="0"/>
              <a:cs typeface="Times New Roman" panose="02020603050405020304" pitchFamily="18" charset="0"/>
            </a:rPr>
            <a:t>Asst. Manager</a:t>
          </a:r>
        </a:p>
        <a:p>
          <a:r>
            <a:rPr lang="en-US" sz="1200" b="0" dirty="0">
              <a:solidFill>
                <a:schemeClr val="tx1"/>
              </a:solidFill>
              <a:latin typeface="Times New Roman" panose="02020603050405020304" pitchFamily="18" charset="0"/>
              <a:cs typeface="Times New Roman" panose="02020603050405020304" pitchFamily="18" charset="0"/>
            </a:rPr>
            <a:t>&amp;</a:t>
          </a:r>
        </a:p>
        <a:p>
          <a:r>
            <a:rPr lang="en-US" sz="1200" b="0" dirty="0">
              <a:solidFill>
                <a:schemeClr val="tx1"/>
              </a:solidFill>
              <a:latin typeface="Times New Roman" panose="02020603050405020304" pitchFamily="18" charset="0"/>
              <a:cs typeface="Times New Roman" panose="02020603050405020304" pitchFamily="18" charset="0"/>
            </a:rPr>
            <a:t>Sr. Executive</a:t>
          </a:r>
          <a:endParaRPr lang="en-IN" sz="1200" b="0" dirty="0">
            <a:solidFill>
              <a:schemeClr val="tx1"/>
            </a:solidFill>
            <a:latin typeface="Times New Roman" panose="02020603050405020304" pitchFamily="18" charset="0"/>
            <a:cs typeface="Times New Roman" panose="02020603050405020304" pitchFamily="18" charset="0"/>
          </a:endParaRPr>
        </a:p>
      </dgm:t>
    </dgm:pt>
    <dgm:pt modelId="{9CC29BD4-E581-4B21-B686-45DBE21A53E2}" type="sibTrans" cxnId="{BB3D8A57-BD45-4F11-8313-B75D0A5C0EF3}">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BD6C1E9A-B62C-45FA-8EC0-32582ECCCD3B}" type="parTrans" cxnId="{BB3D8A57-BD45-4F11-8313-B75D0A5C0EF3}">
      <dgm:prSet/>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5BD3EC53-30CD-496D-ABEE-FA00A67259DC}" type="pres">
      <dgm:prSet presAssocID="{02B35BDE-45F4-4620-BC47-B242F79C627A}" presName="hierChild1" presStyleCnt="0">
        <dgm:presLayoutVars>
          <dgm:orgChart val="1"/>
          <dgm:chPref val="1"/>
          <dgm:dir/>
          <dgm:animOne val="branch"/>
          <dgm:animLvl val="lvl"/>
          <dgm:resizeHandles/>
        </dgm:presLayoutVars>
      </dgm:prSet>
      <dgm:spPr/>
    </dgm:pt>
    <dgm:pt modelId="{5172CE43-15DF-4179-A4B4-2380A5FBBFE1}" type="pres">
      <dgm:prSet presAssocID="{58ED702D-309F-4503-ADCB-C16AED49D934}" presName="hierRoot1" presStyleCnt="0">
        <dgm:presLayoutVars>
          <dgm:hierBranch val="init"/>
        </dgm:presLayoutVars>
      </dgm:prSet>
      <dgm:spPr/>
    </dgm:pt>
    <dgm:pt modelId="{B8565098-CB49-4142-9DDB-2C4B6102575E}" type="pres">
      <dgm:prSet presAssocID="{58ED702D-309F-4503-ADCB-C16AED49D934}" presName="rootComposite1" presStyleCnt="0"/>
      <dgm:spPr/>
    </dgm:pt>
    <dgm:pt modelId="{FCE6B9C7-ADB4-4FE4-8B98-B73B485E5DAC}" type="pres">
      <dgm:prSet presAssocID="{58ED702D-309F-4503-ADCB-C16AED49D934}" presName="rootText1" presStyleLbl="node0" presStyleIdx="0" presStyleCnt="1" custScaleX="139736" custScaleY="62430" custLinFactY="-4395" custLinFactNeighborX="-10282" custLinFactNeighborY="-100000">
        <dgm:presLayoutVars>
          <dgm:chPref val="3"/>
        </dgm:presLayoutVars>
      </dgm:prSet>
      <dgm:spPr>
        <a:prstGeom prst="roundRect">
          <a:avLst/>
        </a:prstGeom>
      </dgm:spPr>
    </dgm:pt>
    <dgm:pt modelId="{2A44367E-CCC3-4F23-80CB-D5CA1EB96366}" type="pres">
      <dgm:prSet presAssocID="{58ED702D-309F-4503-ADCB-C16AED49D934}" presName="rootConnector1" presStyleLbl="node1" presStyleIdx="0" presStyleCnt="0"/>
      <dgm:spPr/>
    </dgm:pt>
    <dgm:pt modelId="{C815BEE0-E91E-4D56-B045-C3D2E8ACD14A}" type="pres">
      <dgm:prSet presAssocID="{58ED702D-309F-4503-ADCB-C16AED49D934}" presName="hierChild2" presStyleCnt="0"/>
      <dgm:spPr/>
    </dgm:pt>
    <dgm:pt modelId="{B905FAEF-D423-4573-9490-12078D784050}" type="pres">
      <dgm:prSet presAssocID="{F5568B04-3E9D-4428-A057-1F4B436967D9}" presName="Name37" presStyleLbl="parChTrans1D2" presStyleIdx="0" presStyleCnt="1"/>
      <dgm:spPr/>
    </dgm:pt>
    <dgm:pt modelId="{0E459D77-CCA3-497D-BBDD-AD8ACB6CB24C}" type="pres">
      <dgm:prSet presAssocID="{2812D489-4A4F-462A-9B24-D2B6C0961F84}" presName="hierRoot2" presStyleCnt="0">
        <dgm:presLayoutVars>
          <dgm:hierBranch/>
        </dgm:presLayoutVars>
      </dgm:prSet>
      <dgm:spPr/>
    </dgm:pt>
    <dgm:pt modelId="{A0383583-62E3-4588-BE45-C0E4D1F916D4}" type="pres">
      <dgm:prSet presAssocID="{2812D489-4A4F-462A-9B24-D2B6C0961F84}" presName="rootComposite" presStyleCnt="0"/>
      <dgm:spPr/>
    </dgm:pt>
    <dgm:pt modelId="{2FD2EADD-7475-4844-B6EC-B218A7241810}" type="pres">
      <dgm:prSet presAssocID="{2812D489-4A4F-462A-9B24-D2B6C0961F84}" presName="rootText" presStyleLbl="node2" presStyleIdx="0" presStyleCnt="1" custScaleX="73939" custScaleY="101622" custLinFactNeighborX="-10033" custLinFactNeighborY="-86848">
        <dgm:presLayoutVars>
          <dgm:chPref val="3"/>
        </dgm:presLayoutVars>
      </dgm:prSet>
      <dgm:spPr>
        <a:prstGeom prst="roundRect">
          <a:avLst/>
        </a:prstGeom>
      </dgm:spPr>
    </dgm:pt>
    <dgm:pt modelId="{63F921F1-95B1-486D-A0CC-85A53B668D80}" type="pres">
      <dgm:prSet presAssocID="{2812D489-4A4F-462A-9B24-D2B6C0961F84}" presName="rootConnector" presStyleLbl="node2" presStyleIdx="0" presStyleCnt="1"/>
      <dgm:spPr/>
    </dgm:pt>
    <dgm:pt modelId="{2FDDFE66-C0E7-47D7-AFB3-536F40F2BC17}" type="pres">
      <dgm:prSet presAssocID="{2812D489-4A4F-462A-9B24-D2B6C0961F84}" presName="hierChild4" presStyleCnt="0"/>
      <dgm:spPr/>
    </dgm:pt>
    <dgm:pt modelId="{26DC7D96-1637-46A6-A942-667BC4C1F7E4}" type="pres">
      <dgm:prSet presAssocID="{BD6C1E9A-B62C-45FA-8EC0-32582ECCCD3B}" presName="Name35" presStyleLbl="parChTrans1D3" presStyleIdx="0" presStyleCnt="1"/>
      <dgm:spPr/>
    </dgm:pt>
    <dgm:pt modelId="{F8684A9B-2027-443B-8FF2-AC58587A95B1}" type="pres">
      <dgm:prSet presAssocID="{A34562FB-F54B-46E1-8A96-B00B86874DC2}" presName="hierRoot2" presStyleCnt="0">
        <dgm:presLayoutVars>
          <dgm:hierBranch/>
        </dgm:presLayoutVars>
      </dgm:prSet>
      <dgm:spPr/>
    </dgm:pt>
    <dgm:pt modelId="{E7B002F9-F374-487C-8059-F2D40AF4CAEF}" type="pres">
      <dgm:prSet presAssocID="{A34562FB-F54B-46E1-8A96-B00B86874DC2}" presName="rootComposite" presStyleCnt="0"/>
      <dgm:spPr/>
    </dgm:pt>
    <dgm:pt modelId="{190B3382-B4D5-46AA-B485-99EC0E237276}" type="pres">
      <dgm:prSet presAssocID="{A34562FB-F54B-46E1-8A96-B00B86874DC2}" presName="rootText" presStyleLbl="node3" presStyleIdx="0" presStyleCnt="1" custScaleX="143989" custScaleY="222197" custLinFactNeighborX="-10033" custLinFactNeighborY="-66414">
        <dgm:presLayoutVars>
          <dgm:chPref val="3"/>
        </dgm:presLayoutVars>
      </dgm:prSet>
      <dgm:spPr>
        <a:prstGeom prst="roundRect">
          <a:avLst/>
        </a:prstGeom>
      </dgm:spPr>
    </dgm:pt>
    <dgm:pt modelId="{06F5CF98-A377-4F8D-AB7D-64803B8AACEA}" type="pres">
      <dgm:prSet presAssocID="{A34562FB-F54B-46E1-8A96-B00B86874DC2}" presName="rootConnector" presStyleLbl="node3" presStyleIdx="0" presStyleCnt="1"/>
      <dgm:spPr/>
    </dgm:pt>
    <dgm:pt modelId="{5DAC17A5-FC4A-4287-AB8A-A0BD47EF72BD}" type="pres">
      <dgm:prSet presAssocID="{A34562FB-F54B-46E1-8A96-B00B86874DC2}" presName="hierChild4" presStyleCnt="0"/>
      <dgm:spPr/>
    </dgm:pt>
    <dgm:pt modelId="{C0EFBD62-2FE9-4B71-A032-62ED5F02941A}" type="pres">
      <dgm:prSet presAssocID="{CE686DC4-9413-4FC7-9B62-52165A46A0A6}" presName="Name35" presStyleLbl="parChTrans1D4" presStyleIdx="0" presStyleCnt="6"/>
      <dgm:spPr/>
    </dgm:pt>
    <dgm:pt modelId="{0E030C61-D630-4009-9C5D-B3427BF0D407}" type="pres">
      <dgm:prSet presAssocID="{DA1D3E1E-E2FA-4984-BCA3-DCC60CBF06E6}" presName="hierRoot2" presStyleCnt="0">
        <dgm:presLayoutVars>
          <dgm:hierBranch/>
        </dgm:presLayoutVars>
      </dgm:prSet>
      <dgm:spPr/>
    </dgm:pt>
    <dgm:pt modelId="{A6EB898A-02EE-4A04-8B4A-9CFEF81BCC13}" type="pres">
      <dgm:prSet presAssocID="{DA1D3E1E-E2FA-4984-BCA3-DCC60CBF06E6}" presName="rootComposite" presStyleCnt="0"/>
      <dgm:spPr/>
    </dgm:pt>
    <dgm:pt modelId="{3F736053-C310-4C08-AB4F-53AEFC09AB5C}" type="pres">
      <dgm:prSet presAssocID="{DA1D3E1E-E2FA-4984-BCA3-DCC60CBF06E6}" presName="rootText" presStyleLbl="node4" presStyleIdx="0" presStyleCnt="6" custScaleX="121623" custScaleY="122618" custLinFactNeighborX="-5343" custLinFactNeighborY="-20819">
        <dgm:presLayoutVars>
          <dgm:chPref val="3"/>
        </dgm:presLayoutVars>
      </dgm:prSet>
      <dgm:spPr>
        <a:prstGeom prst="roundRect">
          <a:avLst/>
        </a:prstGeom>
      </dgm:spPr>
    </dgm:pt>
    <dgm:pt modelId="{6E26C3E4-8951-42EE-9D73-CA14B29DAF56}" type="pres">
      <dgm:prSet presAssocID="{DA1D3E1E-E2FA-4984-BCA3-DCC60CBF06E6}" presName="rootConnector" presStyleLbl="node4" presStyleIdx="0" presStyleCnt="6"/>
      <dgm:spPr/>
    </dgm:pt>
    <dgm:pt modelId="{260C82C9-EF45-4C54-9B8C-8E5F0283F8AA}" type="pres">
      <dgm:prSet presAssocID="{DA1D3E1E-E2FA-4984-BCA3-DCC60CBF06E6}" presName="hierChild4" presStyleCnt="0"/>
      <dgm:spPr/>
    </dgm:pt>
    <dgm:pt modelId="{5B47C265-7BB0-4FF4-9805-670F6B221591}" type="pres">
      <dgm:prSet presAssocID="{DA1D3E1E-E2FA-4984-BCA3-DCC60CBF06E6}" presName="hierChild5" presStyleCnt="0"/>
      <dgm:spPr/>
    </dgm:pt>
    <dgm:pt modelId="{04DCE1F7-CB19-44BA-9651-ABF3A6CAC63F}" type="pres">
      <dgm:prSet presAssocID="{88E42B06-8556-4C9D-BF61-A19FDA497973}" presName="Name35" presStyleLbl="parChTrans1D4" presStyleIdx="1" presStyleCnt="6"/>
      <dgm:spPr/>
    </dgm:pt>
    <dgm:pt modelId="{1806FC34-0B6D-40AB-87FE-EAF2D0D11CAD}" type="pres">
      <dgm:prSet presAssocID="{FE7A343D-1E46-4E9B-905F-BD0921902587}" presName="hierRoot2" presStyleCnt="0">
        <dgm:presLayoutVars>
          <dgm:hierBranch/>
        </dgm:presLayoutVars>
      </dgm:prSet>
      <dgm:spPr/>
    </dgm:pt>
    <dgm:pt modelId="{69A9D305-F275-4DB0-96C2-9FA1293C83F5}" type="pres">
      <dgm:prSet presAssocID="{FE7A343D-1E46-4E9B-905F-BD0921902587}" presName="rootComposite" presStyleCnt="0"/>
      <dgm:spPr/>
    </dgm:pt>
    <dgm:pt modelId="{5A56E394-BFAC-48A9-9A66-B1BBB3B7EDBC}" type="pres">
      <dgm:prSet presAssocID="{FE7A343D-1E46-4E9B-905F-BD0921902587}" presName="rootText" presStyleLbl="node4" presStyleIdx="1" presStyleCnt="6" custScaleY="112358" custLinFactNeighborX="-5174" custLinFactNeighborY="-2964">
        <dgm:presLayoutVars>
          <dgm:chPref val="3"/>
        </dgm:presLayoutVars>
      </dgm:prSet>
      <dgm:spPr>
        <a:prstGeom prst="roundRect">
          <a:avLst/>
        </a:prstGeom>
      </dgm:spPr>
    </dgm:pt>
    <dgm:pt modelId="{CBED1BC3-E799-4C15-83EB-57266AFD5372}" type="pres">
      <dgm:prSet presAssocID="{FE7A343D-1E46-4E9B-905F-BD0921902587}" presName="rootConnector" presStyleLbl="node4" presStyleIdx="1" presStyleCnt="6"/>
      <dgm:spPr/>
    </dgm:pt>
    <dgm:pt modelId="{D1E06B15-5B82-4C80-968E-E7C516B27662}" type="pres">
      <dgm:prSet presAssocID="{FE7A343D-1E46-4E9B-905F-BD0921902587}" presName="hierChild4" presStyleCnt="0"/>
      <dgm:spPr/>
    </dgm:pt>
    <dgm:pt modelId="{A995D196-41D6-4D4F-AD07-FCEE3911BE38}" type="pres">
      <dgm:prSet presAssocID="{FE7A343D-1E46-4E9B-905F-BD0921902587}" presName="hierChild5" presStyleCnt="0"/>
      <dgm:spPr/>
    </dgm:pt>
    <dgm:pt modelId="{E847F3F1-255D-4858-A5B0-E4C9C57E3D5C}" type="pres">
      <dgm:prSet presAssocID="{A53CCEE4-17DD-49B8-B3CA-AB208D18E280}" presName="Name35" presStyleLbl="parChTrans1D4" presStyleIdx="2" presStyleCnt="6"/>
      <dgm:spPr/>
    </dgm:pt>
    <dgm:pt modelId="{A451F80F-B212-46A3-9937-DEFA9E7A4D1F}" type="pres">
      <dgm:prSet presAssocID="{AEB2728B-91E3-45D2-BEE4-FE8ABF3BCE83}" presName="hierRoot2" presStyleCnt="0">
        <dgm:presLayoutVars>
          <dgm:hierBranch val="init"/>
        </dgm:presLayoutVars>
      </dgm:prSet>
      <dgm:spPr/>
    </dgm:pt>
    <dgm:pt modelId="{D9785C34-17F6-4378-8BE6-56124461D716}" type="pres">
      <dgm:prSet presAssocID="{AEB2728B-91E3-45D2-BEE4-FE8ABF3BCE83}" presName="rootComposite" presStyleCnt="0"/>
      <dgm:spPr/>
    </dgm:pt>
    <dgm:pt modelId="{0FBC4375-30D7-4148-8B59-1D881EA6D692}" type="pres">
      <dgm:prSet presAssocID="{AEB2728B-91E3-45D2-BEE4-FE8ABF3BCE83}" presName="rootText" presStyleLbl="node4" presStyleIdx="2" presStyleCnt="6" custScaleX="116658">
        <dgm:presLayoutVars>
          <dgm:chPref val="3"/>
        </dgm:presLayoutVars>
      </dgm:prSet>
      <dgm:spPr>
        <a:prstGeom prst="roundRect">
          <a:avLst/>
        </a:prstGeom>
      </dgm:spPr>
    </dgm:pt>
    <dgm:pt modelId="{E14E5463-CCD0-4228-8B04-367748357975}" type="pres">
      <dgm:prSet presAssocID="{AEB2728B-91E3-45D2-BEE4-FE8ABF3BCE83}" presName="rootConnector" presStyleLbl="node4" presStyleIdx="2" presStyleCnt="6"/>
      <dgm:spPr/>
    </dgm:pt>
    <dgm:pt modelId="{19A4EA7B-2930-45E1-9CDA-32001D32F905}" type="pres">
      <dgm:prSet presAssocID="{AEB2728B-91E3-45D2-BEE4-FE8ABF3BCE83}" presName="hierChild4" presStyleCnt="0"/>
      <dgm:spPr/>
    </dgm:pt>
    <dgm:pt modelId="{02734174-2C01-45FD-AA52-4486CF70FA59}" type="pres">
      <dgm:prSet presAssocID="{AEB2728B-91E3-45D2-BEE4-FE8ABF3BCE83}" presName="hierChild5" presStyleCnt="0"/>
      <dgm:spPr/>
    </dgm:pt>
    <dgm:pt modelId="{F85E7DD1-C4A0-4E44-9BA2-68AA7BAE7BB1}" type="pres">
      <dgm:prSet presAssocID="{9A39B65E-DF15-4CEF-9F6C-AE6D4CF68DC0}" presName="Name35" presStyleLbl="parChTrans1D4" presStyleIdx="3" presStyleCnt="6"/>
      <dgm:spPr/>
    </dgm:pt>
    <dgm:pt modelId="{27C6838A-7198-4DF3-B3FA-E0298628C0D4}" type="pres">
      <dgm:prSet presAssocID="{244AE5E7-61F3-4CA6-8004-4F1558F4D4F7}" presName="hierRoot2" presStyleCnt="0">
        <dgm:presLayoutVars>
          <dgm:hierBranch val="init"/>
        </dgm:presLayoutVars>
      </dgm:prSet>
      <dgm:spPr/>
    </dgm:pt>
    <dgm:pt modelId="{96908571-1F38-492F-848D-8C34152B87D0}" type="pres">
      <dgm:prSet presAssocID="{244AE5E7-61F3-4CA6-8004-4F1558F4D4F7}" presName="rootComposite" presStyleCnt="0"/>
      <dgm:spPr/>
    </dgm:pt>
    <dgm:pt modelId="{ABF6F065-6EE2-429D-A7FE-47C427B347C7}" type="pres">
      <dgm:prSet presAssocID="{244AE5E7-61F3-4CA6-8004-4F1558F4D4F7}" presName="rootText" presStyleLbl="node4" presStyleIdx="3" presStyleCnt="6" custScaleX="119765">
        <dgm:presLayoutVars>
          <dgm:chPref val="3"/>
        </dgm:presLayoutVars>
      </dgm:prSet>
      <dgm:spPr>
        <a:prstGeom prst="roundRect">
          <a:avLst/>
        </a:prstGeom>
      </dgm:spPr>
    </dgm:pt>
    <dgm:pt modelId="{29A46082-B941-457F-B595-C53802CC5C27}" type="pres">
      <dgm:prSet presAssocID="{244AE5E7-61F3-4CA6-8004-4F1558F4D4F7}" presName="rootConnector" presStyleLbl="node4" presStyleIdx="3" presStyleCnt="6"/>
      <dgm:spPr/>
    </dgm:pt>
    <dgm:pt modelId="{1A0EB239-96EC-4B83-ACA7-B5ADCAADCCB1}" type="pres">
      <dgm:prSet presAssocID="{244AE5E7-61F3-4CA6-8004-4F1558F4D4F7}" presName="hierChild4" presStyleCnt="0"/>
      <dgm:spPr/>
    </dgm:pt>
    <dgm:pt modelId="{DCA8B6D9-3BFF-4005-A061-DAD96AF04614}" type="pres">
      <dgm:prSet presAssocID="{244AE5E7-61F3-4CA6-8004-4F1558F4D4F7}" presName="hierChild5" presStyleCnt="0"/>
      <dgm:spPr/>
    </dgm:pt>
    <dgm:pt modelId="{D94A8338-D800-4DF2-A721-19B413DA6843}" type="pres">
      <dgm:prSet presAssocID="{98250640-A1D4-4AB1-A1F2-9C43680D56B5}" presName="Name35" presStyleLbl="parChTrans1D4" presStyleIdx="4" presStyleCnt="6"/>
      <dgm:spPr/>
    </dgm:pt>
    <dgm:pt modelId="{AAAC310D-0691-4303-BA65-C5F21924AC70}" type="pres">
      <dgm:prSet presAssocID="{C39DCCFF-5C8B-4A19-A0C8-C9FB1FAFA8F4}" presName="hierRoot2" presStyleCnt="0">
        <dgm:presLayoutVars>
          <dgm:hierBranch val="init"/>
        </dgm:presLayoutVars>
      </dgm:prSet>
      <dgm:spPr/>
    </dgm:pt>
    <dgm:pt modelId="{E3CE4184-379E-408E-A592-A392BAEAD040}" type="pres">
      <dgm:prSet presAssocID="{C39DCCFF-5C8B-4A19-A0C8-C9FB1FAFA8F4}" presName="rootComposite" presStyleCnt="0"/>
      <dgm:spPr/>
    </dgm:pt>
    <dgm:pt modelId="{1B9331ED-4C27-4FF5-A385-BC994A9D743C}" type="pres">
      <dgm:prSet presAssocID="{C39DCCFF-5C8B-4A19-A0C8-C9FB1FAFA8F4}" presName="rootText" presStyleLbl="node4" presStyleIdx="4" presStyleCnt="6">
        <dgm:presLayoutVars>
          <dgm:chPref val="3"/>
        </dgm:presLayoutVars>
      </dgm:prSet>
      <dgm:spPr>
        <a:prstGeom prst="roundRect">
          <a:avLst/>
        </a:prstGeom>
      </dgm:spPr>
    </dgm:pt>
    <dgm:pt modelId="{C23FB4AC-0C0B-42D4-B405-524FBD97B2A0}" type="pres">
      <dgm:prSet presAssocID="{C39DCCFF-5C8B-4A19-A0C8-C9FB1FAFA8F4}" presName="rootConnector" presStyleLbl="node4" presStyleIdx="4" presStyleCnt="6"/>
      <dgm:spPr/>
    </dgm:pt>
    <dgm:pt modelId="{DCF60C62-01EE-4AFB-A2A6-814C9C058300}" type="pres">
      <dgm:prSet presAssocID="{C39DCCFF-5C8B-4A19-A0C8-C9FB1FAFA8F4}" presName="hierChild4" presStyleCnt="0"/>
      <dgm:spPr/>
    </dgm:pt>
    <dgm:pt modelId="{59A79F22-B3EE-488E-8B00-330F21D6B07C}" type="pres">
      <dgm:prSet presAssocID="{C39DCCFF-5C8B-4A19-A0C8-C9FB1FAFA8F4}" presName="hierChild5" presStyleCnt="0"/>
      <dgm:spPr/>
    </dgm:pt>
    <dgm:pt modelId="{A8B8895C-BF29-46DD-AD25-AF0306AD17B5}" type="pres">
      <dgm:prSet presAssocID="{7553FA96-3A1B-49C7-ACE0-5FBBF0E38094}" presName="Name35" presStyleLbl="parChTrans1D4" presStyleIdx="5" presStyleCnt="6"/>
      <dgm:spPr/>
    </dgm:pt>
    <dgm:pt modelId="{1D838AD1-5792-426A-96C4-5ADF32972F2B}" type="pres">
      <dgm:prSet presAssocID="{59DB0FFE-626D-4EF6-8EA4-ADDF57553C3A}" presName="hierRoot2" presStyleCnt="0">
        <dgm:presLayoutVars>
          <dgm:hierBranch val="init"/>
        </dgm:presLayoutVars>
      </dgm:prSet>
      <dgm:spPr/>
    </dgm:pt>
    <dgm:pt modelId="{52935DD6-074C-445A-AF49-942990199424}" type="pres">
      <dgm:prSet presAssocID="{59DB0FFE-626D-4EF6-8EA4-ADDF57553C3A}" presName="rootComposite" presStyleCnt="0"/>
      <dgm:spPr/>
    </dgm:pt>
    <dgm:pt modelId="{9F94D9C3-0F94-48FA-BCEF-4D236D63EE61}" type="pres">
      <dgm:prSet presAssocID="{59DB0FFE-626D-4EF6-8EA4-ADDF57553C3A}" presName="rootText" presStyleLbl="node4" presStyleIdx="5" presStyleCnt="6" custScaleX="115982">
        <dgm:presLayoutVars>
          <dgm:chPref val="3"/>
        </dgm:presLayoutVars>
      </dgm:prSet>
      <dgm:spPr>
        <a:prstGeom prst="roundRect">
          <a:avLst/>
        </a:prstGeom>
      </dgm:spPr>
    </dgm:pt>
    <dgm:pt modelId="{6227C9B3-1514-494D-A52F-C0754C9D97C4}" type="pres">
      <dgm:prSet presAssocID="{59DB0FFE-626D-4EF6-8EA4-ADDF57553C3A}" presName="rootConnector" presStyleLbl="node4" presStyleIdx="5" presStyleCnt="6"/>
      <dgm:spPr/>
    </dgm:pt>
    <dgm:pt modelId="{E4890DF8-850E-47C6-8262-C3BC8D76ADF2}" type="pres">
      <dgm:prSet presAssocID="{59DB0FFE-626D-4EF6-8EA4-ADDF57553C3A}" presName="hierChild4" presStyleCnt="0"/>
      <dgm:spPr/>
    </dgm:pt>
    <dgm:pt modelId="{A69DF30C-9427-4718-BB36-13019679D52D}" type="pres">
      <dgm:prSet presAssocID="{59DB0FFE-626D-4EF6-8EA4-ADDF57553C3A}" presName="hierChild5" presStyleCnt="0"/>
      <dgm:spPr/>
    </dgm:pt>
    <dgm:pt modelId="{75FADE93-219D-472E-A636-EE91BB6FE3F7}" type="pres">
      <dgm:prSet presAssocID="{A34562FB-F54B-46E1-8A96-B00B86874DC2}" presName="hierChild5" presStyleCnt="0"/>
      <dgm:spPr/>
    </dgm:pt>
    <dgm:pt modelId="{BE1EBA21-C40C-486B-9F92-90F7B9F687B5}" type="pres">
      <dgm:prSet presAssocID="{2812D489-4A4F-462A-9B24-D2B6C0961F84}" presName="hierChild5" presStyleCnt="0"/>
      <dgm:spPr/>
    </dgm:pt>
    <dgm:pt modelId="{C5C35C83-0391-4A13-8AB4-DEE1B3E8D9F8}" type="pres">
      <dgm:prSet presAssocID="{58ED702D-309F-4503-ADCB-C16AED49D934}" presName="hierChild3" presStyleCnt="0"/>
      <dgm:spPr/>
    </dgm:pt>
  </dgm:ptLst>
  <dgm:cxnLst>
    <dgm:cxn modelId="{CDD57F01-423E-4103-A0A1-6CA6FE57F94C}" type="presOf" srcId="{59DB0FFE-626D-4EF6-8EA4-ADDF57553C3A}" destId="{9F94D9C3-0F94-48FA-BCEF-4D236D63EE61}" srcOrd="0" destOrd="0" presId="urn:microsoft.com/office/officeart/2005/8/layout/orgChart1"/>
    <dgm:cxn modelId="{52B89F07-291F-4407-B167-85BFCF541004}" type="presOf" srcId="{A34562FB-F54B-46E1-8A96-B00B86874DC2}" destId="{190B3382-B4D5-46AA-B485-99EC0E237276}" srcOrd="0" destOrd="0" presId="urn:microsoft.com/office/officeart/2005/8/layout/orgChart1"/>
    <dgm:cxn modelId="{4A77C510-1239-41C2-A281-CB606E1709EC}" srcId="{A34562FB-F54B-46E1-8A96-B00B86874DC2}" destId="{DA1D3E1E-E2FA-4984-BCA3-DCC60CBF06E6}" srcOrd="0" destOrd="0" parTransId="{CE686DC4-9413-4FC7-9B62-52165A46A0A6}" sibTransId="{F2846CC0-AD42-484C-A865-F52B57E38AE3}"/>
    <dgm:cxn modelId="{4D8EE919-AAFD-4FE0-B8E0-6AFD4BEC610B}" type="presOf" srcId="{DA1D3E1E-E2FA-4984-BCA3-DCC60CBF06E6}" destId="{3F736053-C310-4C08-AB4F-53AEFC09AB5C}" srcOrd="0" destOrd="0" presId="urn:microsoft.com/office/officeart/2005/8/layout/orgChart1"/>
    <dgm:cxn modelId="{9A890528-306C-4FC1-A448-24176ABB3595}" type="presOf" srcId="{2812D489-4A4F-462A-9B24-D2B6C0961F84}" destId="{2FD2EADD-7475-4844-B6EC-B218A7241810}" srcOrd="0" destOrd="0" presId="urn:microsoft.com/office/officeart/2005/8/layout/orgChart1"/>
    <dgm:cxn modelId="{863EC82B-B1B5-4633-A8C0-7C29BA212E97}" type="presOf" srcId="{AEB2728B-91E3-45D2-BEE4-FE8ABF3BCE83}" destId="{E14E5463-CCD0-4228-8B04-367748357975}" srcOrd="1" destOrd="0" presId="urn:microsoft.com/office/officeart/2005/8/layout/orgChart1"/>
    <dgm:cxn modelId="{23C4972D-8707-4D5D-8FC5-BCC0631A9644}" type="presOf" srcId="{244AE5E7-61F3-4CA6-8004-4F1558F4D4F7}" destId="{ABF6F065-6EE2-429D-A7FE-47C427B347C7}" srcOrd="0" destOrd="0" presId="urn:microsoft.com/office/officeart/2005/8/layout/orgChart1"/>
    <dgm:cxn modelId="{584AD731-5525-4EDF-9EF4-75B5E3A65CAE}" type="presOf" srcId="{58ED702D-309F-4503-ADCB-C16AED49D934}" destId="{2A44367E-CCC3-4F23-80CB-D5CA1EB96366}" srcOrd="1" destOrd="0" presId="urn:microsoft.com/office/officeart/2005/8/layout/orgChart1"/>
    <dgm:cxn modelId="{CD5A5C35-6D64-4729-852D-9206123CCD09}" type="presOf" srcId="{AEB2728B-91E3-45D2-BEE4-FE8ABF3BCE83}" destId="{0FBC4375-30D7-4148-8B59-1D881EA6D692}" srcOrd="0" destOrd="0" presId="urn:microsoft.com/office/officeart/2005/8/layout/orgChart1"/>
    <dgm:cxn modelId="{771EC638-6359-42DF-8DFF-723E861A1ED1}" type="presOf" srcId="{9A39B65E-DF15-4CEF-9F6C-AE6D4CF68DC0}" destId="{F85E7DD1-C4A0-4E44-9BA2-68AA7BAE7BB1}" srcOrd="0" destOrd="0" presId="urn:microsoft.com/office/officeart/2005/8/layout/orgChart1"/>
    <dgm:cxn modelId="{83067C5D-EE85-409B-A3DB-AB8BE405CD46}" type="presOf" srcId="{A34562FB-F54B-46E1-8A96-B00B86874DC2}" destId="{06F5CF98-A377-4F8D-AB7D-64803B8AACEA}" srcOrd="1" destOrd="0" presId="urn:microsoft.com/office/officeart/2005/8/layout/orgChart1"/>
    <dgm:cxn modelId="{BE30CF63-6B9D-42A3-A906-7A1CD78E7BEB}" type="presOf" srcId="{88E42B06-8556-4C9D-BF61-A19FDA497973}" destId="{04DCE1F7-CB19-44BA-9651-ABF3A6CAC63F}" srcOrd="0" destOrd="0" presId="urn:microsoft.com/office/officeart/2005/8/layout/orgChart1"/>
    <dgm:cxn modelId="{6700E265-D701-444E-B6C7-4CD2430A45AF}" type="presOf" srcId="{CE686DC4-9413-4FC7-9B62-52165A46A0A6}" destId="{C0EFBD62-2FE9-4B71-A032-62ED5F02941A}" srcOrd="0" destOrd="0" presId="urn:microsoft.com/office/officeart/2005/8/layout/orgChart1"/>
    <dgm:cxn modelId="{7794EC6C-0F8A-4BF3-849E-F31E758BEC63}" type="presOf" srcId="{DA1D3E1E-E2FA-4984-BCA3-DCC60CBF06E6}" destId="{6E26C3E4-8951-42EE-9D73-CA14B29DAF56}" srcOrd="1" destOrd="0" presId="urn:microsoft.com/office/officeart/2005/8/layout/orgChart1"/>
    <dgm:cxn modelId="{6DC5F36F-0AF2-4083-85ED-D2D2BE1E905E}" type="presOf" srcId="{FE7A343D-1E46-4E9B-905F-BD0921902587}" destId="{CBED1BC3-E799-4C15-83EB-57266AFD5372}" srcOrd="1" destOrd="0" presId="urn:microsoft.com/office/officeart/2005/8/layout/orgChart1"/>
    <dgm:cxn modelId="{5E6B2B52-0759-40F1-9C0F-D3E4899674D4}" type="presOf" srcId="{C39DCCFF-5C8B-4A19-A0C8-C9FB1FAFA8F4}" destId="{1B9331ED-4C27-4FF5-A385-BC994A9D743C}" srcOrd="0" destOrd="0" presId="urn:microsoft.com/office/officeart/2005/8/layout/orgChart1"/>
    <dgm:cxn modelId="{BB3D8A57-BD45-4F11-8313-B75D0A5C0EF3}" srcId="{2812D489-4A4F-462A-9B24-D2B6C0961F84}" destId="{A34562FB-F54B-46E1-8A96-B00B86874DC2}" srcOrd="0" destOrd="0" parTransId="{BD6C1E9A-B62C-45FA-8EC0-32582ECCCD3B}" sibTransId="{9CC29BD4-E581-4B21-B686-45DBE21A53E2}"/>
    <dgm:cxn modelId="{7A019377-3C31-4360-AB59-478D17B7B3AD}" srcId="{A34562FB-F54B-46E1-8A96-B00B86874DC2}" destId="{AEB2728B-91E3-45D2-BEE4-FE8ABF3BCE83}" srcOrd="2" destOrd="0" parTransId="{A53CCEE4-17DD-49B8-B3CA-AB208D18E280}" sibTransId="{FDC05792-CD05-419E-B2EF-5BAD38F6A487}"/>
    <dgm:cxn modelId="{5BCFB986-1F23-4FE4-8053-83B49D0FBD62}" type="presOf" srcId="{02B35BDE-45F4-4620-BC47-B242F79C627A}" destId="{5BD3EC53-30CD-496D-ABEE-FA00A67259DC}" srcOrd="0" destOrd="0" presId="urn:microsoft.com/office/officeart/2005/8/layout/orgChart1"/>
    <dgm:cxn modelId="{788ABF87-9665-4545-AF0B-B05021D934E7}" type="presOf" srcId="{7553FA96-3A1B-49C7-ACE0-5FBBF0E38094}" destId="{A8B8895C-BF29-46DD-AD25-AF0306AD17B5}" srcOrd="0" destOrd="0" presId="urn:microsoft.com/office/officeart/2005/8/layout/orgChart1"/>
    <dgm:cxn modelId="{050C028D-FC00-4F99-BAAF-809A6940AA5B}" srcId="{A34562FB-F54B-46E1-8A96-B00B86874DC2}" destId="{C39DCCFF-5C8B-4A19-A0C8-C9FB1FAFA8F4}" srcOrd="4" destOrd="0" parTransId="{98250640-A1D4-4AB1-A1F2-9C43680D56B5}" sibTransId="{3316AA08-0EDA-4F9C-B3CE-F3F14A906F01}"/>
    <dgm:cxn modelId="{8DAA529A-9473-4124-9925-E68C6F2D1280}" srcId="{A34562FB-F54B-46E1-8A96-B00B86874DC2}" destId="{FE7A343D-1E46-4E9B-905F-BD0921902587}" srcOrd="1" destOrd="0" parTransId="{88E42B06-8556-4C9D-BF61-A19FDA497973}" sibTransId="{EA0F38A3-599C-4157-8C0F-D800A56C27E2}"/>
    <dgm:cxn modelId="{63682D9C-6C65-45E8-BA8C-7C77BB20E66D}" type="presOf" srcId="{2812D489-4A4F-462A-9B24-D2B6C0961F84}" destId="{63F921F1-95B1-486D-A0CC-85A53B668D80}" srcOrd="1" destOrd="0" presId="urn:microsoft.com/office/officeart/2005/8/layout/orgChart1"/>
    <dgm:cxn modelId="{5D585FA8-4406-4B22-9524-C02255EC6259}" type="presOf" srcId="{244AE5E7-61F3-4CA6-8004-4F1558F4D4F7}" destId="{29A46082-B941-457F-B595-C53802CC5C27}" srcOrd="1" destOrd="0" presId="urn:microsoft.com/office/officeart/2005/8/layout/orgChart1"/>
    <dgm:cxn modelId="{82B15DB3-E3AB-4656-9F08-67E25A70D687}" srcId="{A34562FB-F54B-46E1-8A96-B00B86874DC2}" destId="{59DB0FFE-626D-4EF6-8EA4-ADDF57553C3A}" srcOrd="5" destOrd="0" parTransId="{7553FA96-3A1B-49C7-ACE0-5FBBF0E38094}" sibTransId="{81F7CED3-3B39-4925-8F7F-3E1ECCC46531}"/>
    <dgm:cxn modelId="{78FE40BD-A070-4A85-98C8-5A9B79A62AD5}" type="presOf" srcId="{C39DCCFF-5C8B-4A19-A0C8-C9FB1FAFA8F4}" destId="{C23FB4AC-0C0B-42D4-B405-524FBD97B2A0}" srcOrd="1" destOrd="0" presId="urn:microsoft.com/office/officeart/2005/8/layout/orgChart1"/>
    <dgm:cxn modelId="{A8A2F3C2-67A0-41A2-BF44-DDD4AE9981B8}" type="presOf" srcId="{FE7A343D-1E46-4E9B-905F-BD0921902587}" destId="{5A56E394-BFAC-48A9-9A66-B1BBB3B7EDBC}" srcOrd="0" destOrd="0" presId="urn:microsoft.com/office/officeart/2005/8/layout/orgChart1"/>
    <dgm:cxn modelId="{19E203C8-495E-4736-AA1B-ACB19170DDB4}" type="presOf" srcId="{F5568B04-3E9D-4428-A057-1F4B436967D9}" destId="{B905FAEF-D423-4573-9490-12078D784050}" srcOrd="0" destOrd="0" presId="urn:microsoft.com/office/officeart/2005/8/layout/orgChart1"/>
    <dgm:cxn modelId="{716247D8-3CCE-413B-BC6C-88391E971776}" type="presOf" srcId="{59DB0FFE-626D-4EF6-8EA4-ADDF57553C3A}" destId="{6227C9B3-1514-494D-A52F-C0754C9D97C4}" srcOrd="1" destOrd="0" presId="urn:microsoft.com/office/officeart/2005/8/layout/orgChart1"/>
    <dgm:cxn modelId="{7E0C3AD9-C2C5-4C77-9BDA-2AE86E003CEB}" type="presOf" srcId="{A53CCEE4-17DD-49B8-B3CA-AB208D18E280}" destId="{E847F3F1-255D-4858-A5B0-E4C9C57E3D5C}" srcOrd="0" destOrd="0" presId="urn:microsoft.com/office/officeart/2005/8/layout/orgChart1"/>
    <dgm:cxn modelId="{D2C582DE-907B-4F2C-B79D-38E19A287F00}" srcId="{58ED702D-309F-4503-ADCB-C16AED49D934}" destId="{2812D489-4A4F-462A-9B24-D2B6C0961F84}" srcOrd="0" destOrd="0" parTransId="{F5568B04-3E9D-4428-A057-1F4B436967D9}" sibTransId="{788AAAAB-C2A3-449D-B2A3-B24467D6A53D}"/>
    <dgm:cxn modelId="{D25771DF-7F0F-4916-B845-1765AA80CBEC}" type="presOf" srcId="{58ED702D-309F-4503-ADCB-C16AED49D934}" destId="{FCE6B9C7-ADB4-4FE4-8B98-B73B485E5DAC}" srcOrd="0" destOrd="0" presId="urn:microsoft.com/office/officeart/2005/8/layout/orgChart1"/>
    <dgm:cxn modelId="{69BC26E1-8CA4-47AE-BDA5-01FF7C6C73DD}" type="presOf" srcId="{BD6C1E9A-B62C-45FA-8EC0-32582ECCCD3B}" destId="{26DC7D96-1637-46A6-A942-667BC4C1F7E4}" srcOrd="0" destOrd="0" presId="urn:microsoft.com/office/officeart/2005/8/layout/orgChart1"/>
    <dgm:cxn modelId="{F0ED2DEB-9C32-4028-985F-BF6FBC9F6370}" srcId="{A34562FB-F54B-46E1-8A96-B00B86874DC2}" destId="{244AE5E7-61F3-4CA6-8004-4F1558F4D4F7}" srcOrd="3" destOrd="0" parTransId="{9A39B65E-DF15-4CEF-9F6C-AE6D4CF68DC0}" sibTransId="{1249BB1D-E4A6-4E27-B98A-F68A925BAF02}"/>
    <dgm:cxn modelId="{7D8C42F1-4E6C-4721-A330-317DD55B2EC3}" type="presOf" srcId="{98250640-A1D4-4AB1-A1F2-9C43680D56B5}" destId="{D94A8338-D800-4DF2-A721-19B413DA6843}" srcOrd="0" destOrd="0" presId="urn:microsoft.com/office/officeart/2005/8/layout/orgChart1"/>
    <dgm:cxn modelId="{4BEEA0F9-947C-4E4E-9AE5-AF5E54A3BBB0}" srcId="{02B35BDE-45F4-4620-BC47-B242F79C627A}" destId="{58ED702D-309F-4503-ADCB-C16AED49D934}" srcOrd="0" destOrd="0" parTransId="{CA34761E-A8A2-4907-8D53-F14BBE6D5825}" sibTransId="{E787D7A0-2655-4E22-B21D-FD409D5881FC}"/>
    <dgm:cxn modelId="{BBC46CD5-2CF5-41D3-A2C9-F0F30FC0A4EA}" type="presParOf" srcId="{5BD3EC53-30CD-496D-ABEE-FA00A67259DC}" destId="{5172CE43-15DF-4179-A4B4-2380A5FBBFE1}" srcOrd="0" destOrd="0" presId="urn:microsoft.com/office/officeart/2005/8/layout/orgChart1"/>
    <dgm:cxn modelId="{14F66B20-F1D5-49A6-B175-DE709C243D57}" type="presParOf" srcId="{5172CE43-15DF-4179-A4B4-2380A5FBBFE1}" destId="{B8565098-CB49-4142-9DDB-2C4B6102575E}" srcOrd="0" destOrd="0" presId="urn:microsoft.com/office/officeart/2005/8/layout/orgChart1"/>
    <dgm:cxn modelId="{D0BC3157-5761-4DA5-A460-55F5CC94E69F}" type="presParOf" srcId="{B8565098-CB49-4142-9DDB-2C4B6102575E}" destId="{FCE6B9C7-ADB4-4FE4-8B98-B73B485E5DAC}" srcOrd="0" destOrd="0" presId="urn:microsoft.com/office/officeart/2005/8/layout/orgChart1"/>
    <dgm:cxn modelId="{CE8FEAA6-17C3-4C05-A00F-091B5FC3F83A}" type="presParOf" srcId="{B8565098-CB49-4142-9DDB-2C4B6102575E}" destId="{2A44367E-CCC3-4F23-80CB-D5CA1EB96366}" srcOrd="1" destOrd="0" presId="urn:microsoft.com/office/officeart/2005/8/layout/orgChart1"/>
    <dgm:cxn modelId="{087C1028-FB29-44F3-825D-8C5E2435802E}" type="presParOf" srcId="{5172CE43-15DF-4179-A4B4-2380A5FBBFE1}" destId="{C815BEE0-E91E-4D56-B045-C3D2E8ACD14A}" srcOrd="1" destOrd="0" presId="urn:microsoft.com/office/officeart/2005/8/layout/orgChart1"/>
    <dgm:cxn modelId="{553313B6-38FB-418B-85B8-1DC8339A07F8}" type="presParOf" srcId="{C815BEE0-E91E-4D56-B045-C3D2E8ACD14A}" destId="{B905FAEF-D423-4573-9490-12078D784050}" srcOrd="0" destOrd="0" presId="urn:microsoft.com/office/officeart/2005/8/layout/orgChart1"/>
    <dgm:cxn modelId="{28BE103B-D457-49C6-AAE8-54DA5A0C2DD5}" type="presParOf" srcId="{C815BEE0-E91E-4D56-B045-C3D2E8ACD14A}" destId="{0E459D77-CCA3-497D-BBDD-AD8ACB6CB24C}" srcOrd="1" destOrd="0" presId="urn:microsoft.com/office/officeart/2005/8/layout/orgChart1"/>
    <dgm:cxn modelId="{5A24F7C3-21DA-475C-B695-5E224ECA4E55}" type="presParOf" srcId="{0E459D77-CCA3-497D-BBDD-AD8ACB6CB24C}" destId="{A0383583-62E3-4588-BE45-C0E4D1F916D4}" srcOrd="0" destOrd="0" presId="urn:microsoft.com/office/officeart/2005/8/layout/orgChart1"/>
    <dgm:cxn modelId="{203DEBE8-D6A6-4CA4-86D2-EF0A63F6CF42}" type="presParOf" srcId="{A0383583-62E3-4588-BE45-C0E4D1F916D4}" destId="{2FD2EADD-7475-4844-B6EC-B218A7241810}" srcOrd="0" destOrd="0" presId="urn:microsoft.com/office/officeart/2005/8/layout/orgChart1"/>
    <dgm:cxn modelId="{634F506B-FC3B-47FE-9594-73F7A45D32E7}" type="presParOf" srcId="{A0383583-62E3-4588-BE45-C0E4D1F916D4}" destId="{63F921F1-95B1-486D-A0CC-85A53B668D80}" srcOrd="1" destOrd="0" presId="urn:microsoft.com/office/officeart/2005/8/layout/orgChart1"/>
    <dgm:cxn modelId="{7E71BC27-0FA1-49E6-B5C1-69414201D10B}" type="presParOf" srcId="{0E459D77-CCA3-497D-BBDD-AD8ACB6CB24C}" destId="{2FDDFE66-C0E7-47D7-AFB3-536F40F2BC17}" srcOrd="1" destOrd="0" presId="urn:microsoft.com/office/officeart/2005/8/layout/orgChart1"/>
    <dgm:cxn modelId="{FAC6C817-5677-4233-8EDE-D7B614E54EC8}" type="presParOf" srcId="{2FDDFE66-C0E7-47D7-AFB3-536F40F2BC17}" destId="{26DC7D96-1637-46A6-A942-667BC4C1F7E4}" srcOrd="0" destOrd="0" presId="urn:microsoft.com/office/officeart/2005/8/layout/orgChart1"/>
    <dgm:cxn modelId="{37DC8947-F8FB-45DB-88D0-953B4E7713B1}" type="presParOf" srcId="{2FDDFE66-C0E7-47D7-AFB3-536F40F2BC17}" destId="{F8684A9B-2027-443B-8FF2-AC58587A95B1}" srcOrd="1" destOrd="0" presId="urn:microsoft.com/office/officeart/2005/8/layout/orgChart1"/>
    <dgm:cxn modelId="{A346C56B-3C05-4B82-B4F1-0D1A9E9B6408}" type="presParOf" srcId="{F8684A9B-2027-443B-8FF2-AC58587A95B1}" destId="{E7B002F9-F374-487C-8059-F2D40AF4CAEF}" srcOrd="0" destOrd="0" presId="urn:microsoft.com/office/officeart/2005/8/layout/orgChart1"/>
    <dgm:cxn modelId="{253345F0-63B8-46D9-AAEA-25FE15FCE9F9}" type="presParOf" srcId="{E7B002F9-F374-487C-8059-F2D40AF4CAEF}" destId="{190B3382-B4D5-46AA-B485-99EC0E237276}" srcOrd="0" destOrd="0" presId="urn:microsoft.com/office/officeart/2005/8/layout/orgChart1"/>
    <dgm:cxn modelId="{32C6E280-605B-46FD-8110-C3061F4D6F75}" type="presParOf" srcId="{E7B002F9-F374-487C-8059-F2D40AF4CAEF}" destId="{06F5CF98-A377-4F8D-AB7D-64803B8AACEA}" srcOrd="1" destOrd="0" presId="urn:microsoft.com/office/officeart/2005/8/layout/orgChart1"/>
    <dgm:cxn modelId="{E98CE9B7-2730-4FB2-8C42-A5CD5A497097}" type="presParOf" srcId="{F8684A9B-2027-443B-8FF2-AC58587A95B1}" destId="{5DAC17A5-FC4A-4287-AB8A-A0BD47EF72BD}" srcOrd="1" destOrd="0" presId="urn:microsoft.com/office/officeart/2005/8/layout/orgChart1"/>
    <dgm:cxn modelId="{6705D31A-FBF3-4C0A-AA43-7734DEB05320}" type="presParOf" srcId="{5DAC17A5-FC4A-4287-AB8A-A0BD47EF72BD}" destId="{C0EFBD62-2FE9-4B71-A032-62ED5F02941A}" srcOrd="0" destOrd="0" presId="urn:microsoft.com/office/officeart/2005/8/layout/orgChart1"/>
    <dgm:cxn modelId="{E3314C8C-FDEE-443A-AC44-8455A2DAABA8}" type="presParOf" srcId="{5DAC17A5-FC4A-4287-AB8A-A0BD47EF72BD}" destId="{0E030C61-D630-4009-9C5D-B3427BF0D407}" srcOrd="1" destOrd="0" presId="urn:microsoft.com/office/officeart/2005/8/layout/orgChart1"/>
    <dgm:cxn modelId="{97CD36CF-DBAB-45EF-8B89-423EC1E5308C}" type="presParOf" srcId="{0E030C61-D630-4009-9C5D-B3427BF0D407}" destId="{A6EB898A-02EE-4A04-8B4A-9CFEF81BCC13}" srcOrd="0" destOrd="0" presId="urn:microsoft.com/office/officeart/2005/8/layout/orgChart1"/>
    <dgm:cxn modelId="{832DC592-16B4-4081-B7CD-CA237FBCE1EB}" type="presParOf" srcId="{A6EB898A-02EE-4A04-8B4A-9CFEF81BCC13}" destId="{3F736053-C310-4C08-AB4F-53AEFC09AB5C}" srcOrd="0" destOrd="0" presId="urn:microsoft.com/office/officeart/2005/8/layout/orgChart1"/>
    <dgm:cxn modelId="{72DB5542-543A-421E-93C6-734DB84AB2D3}" type="presParOf" srcId="{A6EB898A-02EE-4A04-8B4A-9CFEF81BCC13}" destId="{6E26C3E4-8951-42EE-9D73-CA14B29DAF56}" srcOrd="1" destOrd="0" presId="urn:microsoft.com/office/officeart/2005/8/layout/orgChart1"/>
    <dgm:cxn modelId="{32578020-B3C1-45FD-87C6-4BDC7A58F2EB}" type="presParOf" srcId="{0E030C61-D630-4009-9C5D-B3427BF0D407}" destId="{260C82C9-EF45-4C54-9B8C-8E5F0283F8AA}" srcOrd="1" destOrd="0" presId="urn:microsoft.com/office/officeart/2005/8/layout/orgChart1"/>
    <dgm:cxn modelId="{103EE425-F777-4E1F-9B3F-51AC15E17D1C}" type="presParOf" srcId="{0E030C61-D630-4009-9C5D-B3427BF0D407}" destId="{5B47C265-7BB0-4FF4-9805-670F6B221591}" srcOrd="2" destOrd="0" presId="urn:microsoft.com/office/officeart/2005/8/layout/orgChart1"/>
    <dgm:cxn modelId="{35D31899-55B6-4037-B992-2CDF627DA0CD}" type="presParOf" srcId="{5DAC17A5-FC4A-4287-AB8A-A0BD47EF72BD}" destId="{04DCE1F7-CB19-44BA-9651-ABF3A6CAC63F}" srcOrd="2" destOrd="0" presId="urn:microsoft.com/office/officeart/2005/8/layout/orgChart1"/>
    <dgm:cxn modelId="{E7135128-CBD6-46E0-BDD8-48FA4347F4D6}" type="presParOf" srcId="{5DAC17A5-FC4A-4287-AB8A-A0BD47EF72BD}" destId="{1806FC34-0B6D-40AB-87FE-EAF2D0D11CAD}" srcOrd="3" destOrd="0" presId="urn:microsoft.com/office/officeart/2005/8/layout/orgChart1"/>
    <dgm:cxn modelId="{9F8A49AF-AC2D-4BA7-9FF6-CB8D9FFCC13F}" type="presParOf" srcId="{1806FC34-0B6D-40AB-87FE-EAF2D0D11CAD}" destId="{69A9D305-F275-4DB0-96C2-9FA1293C83F5}" srcOrd="0" destOrd="0" presId="urn:microsoft.com/office/officeart/2005/8/layout/orgChart1"/>
    <dgm:cxn modelId="{84A7FB57-A9F7-4446-B81C-482523961550}" type="presParOf" srcId="{69A9D305-F275-4DB0-96C2-9FA1293C83F5}" destId="{5A56E394-BFAC-48A9-9A66-B1BBB3B7EDBC}" srcOrd="0" destOrd="0" presId="urn:microsoft.com/office/officeart/2005/8/layout/orgChart1"/>
    <dgm:cxn modelId="{E6472F50-5C00-49A9-8B88-560BD947E4B4}" type="presParOf" srcId="{69A9D305-F275-4DB0-96C2-9FA1293C83F5}" destId="{CBED1BC3-E799-4C15-83EB-57266AFD5372}" srcOrd="1" destOrd="0" presId="urn:microsoft.com/office/officeart/2005/8/layout/orgChart1"/>
    <dgm:cxn modelId="{66CAEC7E-8D40-4417-AAF3-F2D314B4A5C1}" type="presParOf" srcId="{1806FC34-0B6D-40AB-87FE-EAF2D0D11CAD}" destId="{D1E06B15-5B82-4C80-968E-E7C516B27662}" srcOrd="1" destOrd="0" presId="urn:microsoft.com/office/officeart/2005/8/layout/orgChart1"/>
    <dgm:cxn modelId="{198D97CA-ACE0-4EBD-B91B-0250D4B2A798}" type="presParOf" srcId="{1806FC34-0B6D-40AB-87FE-EAF2D0D11CAD}" destId="{A995D196-41D6-4D4F-AD07-FCEE3911BE38}" srcOrd="2" destOrd="0" presId="urn:microsoft.com/office/officeart/2005/8/layout/orgChart1"/>
    <dgm:cxn modelId="{90CC0E7E-343D-4381-BAF4-15C41E6BE2E9}" type="presParOf" srcId="{5DAC17A5-FC4A-4287-AB8A-A0BD47EF72BD}" destId="{E847F3F1-255D-4858-A5B0-E4C9C57E3D5C}" srcOrd="4" destOrd="0" presId="urn:microsoft.com/office/officeart/2005/8/layout/orgChart1"/>
    <dgm:cxn modelId="{6097B974-0C0C-4526-BF3D-5D15A1C79994}" type="presParOf" srcId="{5DAC17A5-FC4A-4287-AB8A-A0BD47EF72BD}" destId="{A451F80F-B212-46A3-9937-DEFA9E7A4D1F}" srcOrd="5" destOrd="0" presId="urn:microsoft.com/office/officeart/2005/8/layout/orgChart1"/>
    <dgm:cxn modelId="{C9CC10C5-7FC5-4147-9222-AAFCC780C5A6}" type="presParOf" srcId="{A451F80F-B212-46A3-9937-DEFA9E7A4D1F}" destId="{D9785C34-17F6-4378-8BE6-56124461D716}" srcOrd="0" destOrd="0" presId="urn:microsoft.com/office/officeart/2005/8/layout/orgChart1"/>
    <dgm:cxn modelId="{F65C241B-2FF3-4FB6-90AE-B93BAB9A59F8}" type="presParOf" srcId="{D9785C34-17F6-4378-8BE6-56124461D716}" destId="{0FBC4375-30D7-4148-8B59-1D881EA6D692}" srcOrd="0" destOrd="0" presId="urn:microsoft.com/office/officeart/2005/8/layout/orgChart1"/>
    <dgm:cxn modelId="{06BF9CB8-9736-4911-8799-13742E6AE95F}" type="presParOf" srcId="{D9785C34-17F6-4378-8BE6-56124461D716}" destId="{E14E5463-CCD0-4228-8B04-367748357975}" srcOrd="1" destOrd="0" presId="urn:microsoft.com/office/officeart/2005/8/layout/orgChart1"/>
    <dgm:cxn modelId="{B8787E85-22AC-4B11-8298-DE366644A76F}" type="presParOf" srcId="{A451F80F-B212-46A3-9937-DEFA9E7A4D1F}" destId="{19A4EA7B-2930-45E1-9CDA-32001D32F905}" srcOrd="1" destOrd="0" presId="urn:microsoft.com/office/officeart/2005/8/layout/orgChart1"/>
    <dgm:cxn modelId="{0D5553C5-654A-4CBE-B771-354338DA3EC8}" type="presParOf" srcId="{A451F80F-B212-46A3-9937-DEFA9E7A4D1F}" destId="{02734174-2C01-45FD-AA52-4486CF70FA59}" srcOrd="2" destOrd="0" presId="urn:microsoft.com/office/officeart/2005/8/layout/orgChart1"/>
    <dgm:cxn modelId="{34627711-12F2-4753-A18B-4EDE50E284C5}" type="presParOf" srcId="{5DAC17A5-FC4A-4287-AB8A-A0BD47EF72BD}" destId="{F85E7DD1-C4A0-4E44-9BA2-68AA7BAE7BB1}" srcOrd="6" destOrd="0" presId="urn:microsoft.com/office/officeart/2005/8/layout/orgChart1"/>
    <dgm:cxn modelId="{8F8756E9-CCE0-4C05-BD36-A921D12C7461}" type="presParOf" srcId="{5DAC17A5-FC4A-4287-AB8A-A0BD47EF72BD}" destId="{27C6838A-7198-4DF3-B3FA-E0298628C0D4}" srcOrd="7" destOrd="0" presId="urn:microsoft.com/office/officeart/2005/8/layout/orgChart1"/>
    <dgm:cxn modelId="{B07AE898-66EE-40E6-B327-208FAE0B1241}" type="presParOf" srcId="{27C6838A-7198-4DF3-B3FA-E0298628C0D4}" destId="{96908571-1F38-492F-848D-8C34152B87D0}" srcOrd="0" destOrd="0" presId="urn:microsoft.com/office/officeart/2005/8/layout/orgChart1"/>
    <dgm:cxn modelId="{B36D537D-01CD-480A-8D4E-321428BFE10E}" type="presParOf" srcId="{96908571-1F38-492F-848D-8C34152B87D0}" destId="{ABF6F065-6EE2-429D-A7FE-47C427B347C7}" srcOrd="0" destOrd="0" presId="urn:microsoft.com/office/officeart/2005/8/layout/orgChart1"/>
    <dgm:cxn modelId="{5AA74BE3-AB6A-4C87-9D47-1BABD1D73126}" type="presParOf" srcId="{96908571-1F38-492F-848D-8C34152B87D0}" destId="{29A46082-B941-457F-B595-C53802CC5C27}" srcOrd="1" destOrd="0" presId="urn:microsoft.com/office/officeart/2005/8/layout/orgChart1"/>
    <dgm:cxn modelId="{4AD863C5-2441-44FE-8FD8-A2B97F4D73C4}" type="presParOf" srcId="{27C6838A-7198-4DF3-B3FA-E0298628C0D4}" destId="{1A0EB239-96EC-4B83-ACA7-B5ADCAADCCB1}" srcOrd="1" destOrd="0" presId="urn:microsoft.com/office/officeart/2005/8/layout/orgChart1"/>
    <dgm:cxn modelId="{49F4802D-E61C-4CA8-92FB-E3B2A878BECA}" type="presParOf" srcId="{27C6838A-7198-4DF3-B3FA-E0298628C0D4}" destId="{DCA8B6D9-3BFF-4005-A061-DAD96AF04614}" srcOrd="2" destOrd="0" presId="urn:microsoft.com/office/officeart/2005/8/layout/orgChart1"/>
    <dgm:cxn modelId="{0BF9172D-C5DF-472A-8531-FEFE1C6C92DA}" type="presParOf" srcId="{5DAC17A5-FC4A-4287-AB8A-A0BD47EF72BD}" destId="{D94A8338-D800-4DF2-A721-19B413DA6843}" srcOrd="8" destOrd="0" presId="urn:microsoft.com/office/officeart/2005/8/layout/orgChart1"/>
    <dgm:cxn modelId="{5EFE9985-DEAB-41D0-8B4B-D5FB4C917D14}" type="presParOf" srcId="{5DAC17A5-FC4A-4287-AB8A-A0BD47EF72BD}" destId="{AAAC310D-0691-4303-BA65-C5F21924AC70}" srcOrd="9" destOrd="0" presId="urn:microsoft.com/office/officeart/2005/8/layout/orgChart1"/>
    <dgm:cxn modelId="{EA2E6DF8-9826-41D8-9F46-A127DC36CFD8}" type="presParOf" srcId="{AAAC310D-0691-4303-BA65-C5F21924AC70}" destId="{E3CE4184-379E-408E-A592-A392BAEAD040}" srcOrd="0" destOrd="0" presId="urn:microsoft.com/office/officeart/2005/8/layout/orgChart1"/>
    <dgm:cxn modelId="{7B2A68C5-E617-462B-B257-218E42AF026F}" type="presParOf" srcId="{E3CE4184-379E-408E-A592-A392BAEAD040}" destId="{1B9331ED-4C27-4FF5-A385-BC994A9D743C}" srcOrd="0" destOrd="0" presId="urn:microsoft.com/office/officeart/2005/8/layout/orgChart1"/>
    <dgm:cxn modelId="{205AA9E4-36DF-467B-8B1D-9EE36CF75CA2}" type="presParOf" srcId="{E3CE4184-379E-408E-A592-A392BAEAD040}" destId="{C23FB4AC-0C0B-42D4-B405-524FBD97B2A0}" srcOrd="1" destOrd="0" presId="urn:microsoft.com/office/officeart/2005/8/layout/orgChart1"/>
    <dgm:cxn modelId="{B9488AFC-99AC-41EA-8625-78085ED6BD7C}" type="presParOf" srcId="{AAAC310D-0691-4303-BA65-C5F21924AC70}" destId="{DCF60C62-01EE-4AFB-A2A6-814C9C058300}" srcOrd="1" destOrd="0" presId="urn:microsoft.com/office/officeart/2005/8/layout/orgChart1"/>
    <dgm:cxn modelId="{79727890-1491-4C22-8F7D-0CF470B28435}" type="presParOf" srcId="{AAAC310D-0691-4303-BA65-C5F21924AC70}" destId="{59A79F22-B3EE-488E-8B00-330F21D6B07C}" srcOrd="2" destOrd="0" presId="urn:microsoft.com/office/officeart/2005/8/layout/orgChart1"/>
    <dgm:cxn modelId="{1D6F95C1-D3D0-4587-87F1-D489DE281E51}" type="presParOf" srcId="{5DAC17A5-FC4A-4287-AB8A-A0BD47EF72BD}" destId="{A8B8895C-BF29-46DD-AD25-AF0306AD17B5}" srcOrd="10" destOrd="0" presId="urn:microsoft.com/office/officeart/2005/8/layout/orgChart1"/>
    <dgm:cxn modelId="{618CCE9A-CA6C-440B-B4A9-F2B69E8C52AA}" type="presParOf" srcId="{5DAC17A5-FC4A-4287-AB8A-A0BD47EF72BD}" destId="{1D838AD1-5792-426A-96C4-5ADF32972F2B}" srcOrd="11" destOrd="0" presId="urn:microsoft.com/office/officeart/2005/8/layout/orgChart1"/>
    <dgm:cxn modelId="{0CEE9B7A-8869-4927-9144-EA23C20189FC}" type="presParOf" srcId="{1D838AD1-5792-426A-96C4-5ADF32972F2B}" destId="{52935DD6-074C-445A-AF49-942990199424}" srcOrd="0" destOrd="0" presId="urn:microsoft.com/office/officeart/2005/8/layout/orgChart1"/>
    <dgm:cxn modelId="{BED0810B-0164-4594-A415-1DA851C3E1FF}" type="presParOf" srcId="{52935DD6-074C-445A-AF49-942990199424}" destId="{9F94D9C3-0F94-48FA-BCEF-4D236D63EE61}" srcOrd="0" destOrd="0" presId="urn:microsoft.com/office/officeart/2005/8/layout/orgChart1"/>
    <dgm:cxn modelId="{2883C907-1649-414E-8D52-0F00FF504B12}" type="presParOf" srcId="{52935DD6-074C-445A-AF49-942990199424}" destId="{6227C9B3-1514-494D-A52F-C0754C9D97C4}" srcOrd="1" destOrd="0" presId="urn:microsoft.com/office/officeart/2005/8/layout/orgChart1"/>
    <dgm:cxn modelId="{53D34556-BFC0-4F7D-9810-AB3A5BDAD2C3}" type="presParOf" srcId="{1D838AD1-5792-426A-96C4-5ADF32972F2B}" destId="{E4890DF8-850E-47C6-8262-C3BC8D76ADF2}" srcOrd="1" destOrd="0" presId="urn:microsoft.com/office/officeart/2005/8/layout/orgChart1"/>
    <dgm:cxn modelId="{FDCC87BC-9931-4344-BEE8-F92ACD92FD80}" type="presParOf" srcId="{1D838AD1-5792-426A-96C4-5ADF32972F2B}" destId="{A69DF30C-9427-4718-BB36-13019679D52D}" srcOrd="2" destOrd="0" presId="urn:microsoft.com/office/officeart/2005/8/layout/orgChart1"/>
    <dgm:cxn modelId="{AC6369E1-9A67-4891-BC2C-8352A711A73B}" type="presParOf" srcId="{F8684A9B-2027-443B-8FF2-AC58587A95B1}" destId="{75FADE93-219D-472E-A636-EE91BB6FE3F7}" srcOrd="2" destOrd="0" presId="urn:microsoft.com/office/officeart/2005/8/layout/orgChart1"/>
    <dgm:cxn modelId="{4ADED223-BA72-4F02-84CE-230E2E7F28D9}" type="presParOf" srcId="{0E459D77-CCA3-497D-BBDD-AD8ACB6CB24C}" destId="{BE1EBA21-C40C-486B-9F92-90F7B9F687B5}" srcOrd="2" destOrd="0" presId="urn:microsoft.com/office/officeart/2005/8/layout/orgChart1"/>
    <dgm:cxn modelId="{6CF7787C-C5C9-4982-AADC-DB251D81EF3B}" type="presParOf" srcId="{5172CE43-15DF-4179-A4B4-2380A5FBBFE1}" destId="{C5C35C83-0391-4A13-8AB4-DEE1B3E8D9F8}"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46906A68-5958-4BB3-8051-96B3DD9EB2D0}" type="doc">
      <dgm:prSet loTypeId="urn:microsoft.com/office/officeart/2005/8/layout/orgChart1" loCatId="hierarchy" qsTypeId="urn:microsoft.com/office/officeart/2005/8/quickstyle/simple1" qsCatId="simple" csTypeId="urn:microsoft.com/office/officeart/2005/8/colors/accent0_1" csCatId="mainScheme" phldr="1"/>
      <dgm:spPr/>
      <dgm:t>
        <a:bodyPr/>
        <a:lstStyle/>
        <a:p>
          <a:endParaRPr lang="en-IN"/>
        </a:p>
      </dgm:t>
    </dgm:pt>
    <dgm:pt modelId="{D73630E0-1641-4EE3-A349-A88DBF5B8C8C}">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QC </a:t>
          </a:r>
        </a:p>
        <a:p>
          <a:r>
            <a:rPr lang="en-US" sz="1200" b="0" dirty="0">
              <a:latin typeface="Times New Roman" panose="02020603050405020304" pitchFamily="18" charset="0"/>
              <a:cs typeface="Times New Roman" panose="02020603050405020304" pitchFamily="18" charset="0"/>
            </a:rPr>
            <a:t>Department</a:t>
          </a:r>
          <a:endParaRPr lang="en-IN" sz="1200" b="0" dirty="0">
            <a:latin typeface="Times New Roman" panose="02020603050405020304" pitchFamily="18" charset="0"/>
            <a:cs typeface="Times New Roman" panose="02020603050405020304" pitchFamily="18" charset="0"/>
          </a:endParaRPr>
        </a:p>
      </dgm:t>
    </dgm:pt>
    <dgm:pt modelId="{F8CBFD2A-6420-4F22-B5CB-038536856E05}" type="parTrans" cxnId="{561B8E15-9486-48E4-94DE-08EEFF1E956F}">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81562288-F405-4115-BFC2-66606462C6A5}" type="sibTrans" cxnId="{561B8E15-9486-48E4-94DE-08EEFF1E956F}">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B9BEF0A4-014B-4F4D-9FD9-E2FC74813BA6}">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Sr. Manager ADL </a:t>
          </a:r>
          <a:endParaRPr lang="en-IN" sz="1200" b="0" dirty="0">
            <a:latin typeface="Times New Roman" panose="02020603050405020304" pitchFamily="18" charset="0"/>
            <a:cs typeface="Times New Roman" panose="02020603050405020304" pitchFamily="18" charset="0"/>
          </a:endParaRPr>
        </a:p>
      </dgm:t>
    </dgm:pt>
    <dgm:pt modelId="{BBB83B56-5356-4A89-994C-C9AF151D7076}" type="parTrans" cxnId="{AD52B884-5FEE-4CFA-ACB3-DE55D5DE45F9}">
      <dgm:prSet/>
      <dgm:spPr>
        <a:ln w="9525"/>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3A00FC5B-9E38-4EFE-86D0-A2ED9877E806}" type="sibTrans" cxnId="{AD52B884-5FEE-4CFA-ACB3-DE55D5DE45F9}">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41CADA3D-2D30-49F0-8226-ED9F08069CF1}">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Asst. Manager</a:t>
          </a:r>
          <a:endParaRPr lang="en-IN" sz="1200" b="0" dirty="0">
            <a:latin typeface="Times New Roman" panose="02020603050405020304" pitchFamily="18" charset="0"/>
            <a:cs typeface="Times New Roman" panose="02020603050405020304" pitchFamily="18" charset="0"/>
          </a:endParaRPr>
        </a:p>
      </dgm:t>
    </dgm:pt>
    <dgm:pt modelId="{0B5EFAA1-58D0-4EAF-AD53-292CE913C03C}" type="parTrans" cxnId="{B1E2031B-DABC-48D2-BF0D-076EB531981D}">
      <dgm:prSet/>
      <dgm:spPr>
        <a:ln w="9525"/>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2F938811-2D98-4E74-944F-5B5459C09C89}" type="sibTrans" cxnId="{B1E2031B-DABC-48D2-BF0D-076EB531981D}">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25AB6093-F278-4686-BA83-3C64E9C840CD}">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Chemist</a:t>
          </a:r>
          <a:endParaRPr lang="en-IN" sz="1200" b="0" dirty="0">
            <a:latin typeface="Times New Roman" panose="02020603050405020304" pitchFamily="18" charset="0"/>
            <a:cs typeface="Times New Roman" panose="02020603050405020304" pitchFamily="18" charset="0"/>
          </a:endParaRPr>
        </a:p>
      </dgm:t>
    </dgm:pt>
    <dgm:pt modelId="{ED95C841-430E-4042-81F3-23B5962C08B2}" type="parTrans" cxnId="{2F7F7104-6AA3-4B4C-BC21-9468DD10DC6C}">
      <dgm:prSet/>
      <dgm:spPr>
        <a:ln w="9525"/>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45CD7733-D11D-45EB-B884-DC58E69834E6}" type="sibTrans" cxnId="{2F7F7104-6AA3-4B4C-BC21-9468DD10DC6C}">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E542A962-5990-4807-9AA0-D8D2B6AED73D}">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Chemist</a:t>
          </a:r>
          <a:endParaRPr lang="en-IN" sz="1200" b="0" dirty="0">
            <a:latin typeface="Times New Roman" panose="02020603050405020304" pitchFamily="18" charset="0"/>
            <a:cs typeface="Times New Roman" panose="02020603050405020304" pitchFamily="18" charset="0"/>
          </a:endParaRPr>
        </a:p>
      </dgm:t>
    </dgm:pt>
    <dgm:pt modelId="{059A6FDB-9C72-49F2-8069-04F569747161}" type="parTrans" cxnId="{FC549395-E250-4F58-97FD-CAA8AFDD5863}">
      <dgm:prSet/>
      <dgm:spPr>
        <a:ln w="9525"/>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C10B6776-AD9E-4AB0-8E77-D04BB9C1D733}" type="sibTrans" cxnId="{FC549395-E250-4F58-97FD-CAA8AFDD5863}">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71EEF2DD-26E7-4C35-BB89-FB55F6BFB0EE}">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DGM </a:t>
          </a:r>
        </a:p>
        <a:p>
          <a:r>
            <a:rPr lang="en-US" sz="1200" b="0" dirty="0">
              <a:latin typeface="Times New Roman" panose="02020603050405020304" pitchFamily="18" charset="0"/>
              <a:cs typeface="Times New Roman" panose="02020603050405020304" pitchFamily="18" charset="0"/>
            </a:rPr>
            <a:t>R&amp;D &amp;ADL</a:t>
          </a:r>
          <a:endParaRPr lang="en-IN" sz="1200" b="0" dirty="0">
            <a:latin typeface="Times New Roman" panose="02020603050405020304" pitchFamily="18" charset="0"/>
            <a:cs typeface="Times New Roman" panose="02020603050405020304" pitchFamily="18" charset="0"/>
          </a:endParaRPr>
        </a:p>
      </dgm:t>
    </dgm:pt>
    <dgm:pt modelId="{71087FF2-C1B6-4C76-9FE1-4C7A71DE9AA0}" type="parTrans" cxnId="{931CE56A-D3B5-422F-9E25-30FB1AF9B614}">
      <dgm:prSet/>
      <dgm:spPr>
        <a:ln w="9525"/>
      </dgm:spPr>
      <dgm:t>
        <a:bodyPr/>
        <a:lstStyle/>
        <a:p>
          <a:endParaRPr lang="en-IN" sz="1200" b="0">
            <a:solidFill>
              <a:schemeClr val="tx1"/>
            </a:solidFill>
            <a:latin typeface="Times New Roman" panose="02020603050405020304" pitchFamily="18" charset="0"/>
            <a:cs typeface="Times New Roman" panose="02020603050405020304" pitchFamily="18" charset="0"/>
          </a:endParaRPr>
        </a:p>
      </dgm:t>
    </dgm:pt>
    <dgm:pt modelId="{F7C31FB7-EDC1-4D6B-88C6-079DC320DB49}" type="sibTrans" cxnId="{931CE56A-D3B5-422F-9E25-30FB1AF9B614}">
      <dgm:prSet/>
      <dgm:spPr/>
      <dgm:t>
        <a:bodyPr/>
        <a:lstStyle/>
        <a:p>
          <a:endParaRPr lang="en-IN">
            <a:solidFill>
              <a:schemeClr val="accent6">
                <a:lumMod val="50000"/>
              </a:schemeClr>
            </a:solidFill>
            <a:latin typeface="Times New Roman" panose="02020603050405020304" pitchFamily="18" charset="0"/>
            <a:cs typeface="Times New Roman" panose="02020603050405020304" pitchFamily="18" charset="0"/>
          </a:endParaRPr>
        </a:p>
      </dgm:t>
    </dgm:pt>
    <dgm:pt modelId="{5595AE6C-B8D5-47EC-8E65-35E2747D6CD0}">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Asst. Manager</a:t>
          </a:r>
          <a:endParaRPr lang="en-IN" sz="1200" b="0" dirty="0">
            <a:latin typeface="Times New Roman" panose="02020603050405020304" pitchFamily="18" charset="0"/>
            <a:cs typeface="Times New Roman" panose="02020603050405020304" pitchFamily="18" charset="0"/>
          </a:endParaRPr>
        </a:p>
      </dgm:t>
    </dgm:pt>
    <dgm:pt modelId="{D7FFFFBE-FAA6-4199-A958-D586B186A487}" type="parTrans" cxnId="{30848F43-0A2B-4D27-9A7E-531768B7D02A}">
      <dgm:prSet/>
      <dgm:spPr>
        <a:ln w="9525"/>
      </dgm:spPr>
      <dgm:t>
        <a:bodyPr/>
        <a:lstStyle/>
        <a:p>
          <a:endParaRPr lang="en-IN" sz="1200" b="0">
            <a:solidFill>
              <a:schemeClr val="tx1"/>
            </a:solidFill>
          </a:endParaRPr>
        </a:p>
      </dgm:t>
    </dgm:pt>
    <dgm:pt modelId="{D4282033-960C-4957-B8B4-009E76807C4F}" type="sibTrans" cxnId="{30848F43-0A2B-4D27-9A7E-531768B7D02A}">
      <dgm:prSet/>
      <dgm:spPr/>
      <dgm:t>
        <a:bodyPr/>
        <a:lstStyle/>
        <a:p>
          <a:endParaRPr lang="en-IN"/>
        </a:p>
      </dgm:t>
    </dgm:pt>
    <dgm:pt modelId="{ED54650C-9B1C-405F-9D22-51A9294A907D}">
      <dgm:prSet phldrT="[Text]" custT="1"/>
      <dgm:spPr>
        <a:ln w="9525"/>
      </dgm:spPr>
      <dgm:t>
        <a:bodyPr/>
        <a:lstStyle/>
        <a:p>
          <a:r>
            <a:rPr lang="en-US" sz="1200" b="0" dirty="0">
              <a:latin typeface="Times New Roman" panose="02020603050405020304" pitchFamily="18" charset="0"/>
              <a:cs typeface="Times New Roman" panose="02020603050405020304" pitchFamily="18" charset="0"/>
            </a:rPr>
            <a:t>Microbiologist</a:t>
          </a:r>
          <a:endParaRPr lang="en-IN" sz="1200" b="0" dirty="0">
            <a:latin typeface="Times New Roman" panose="02020603050405020304" pitchFamily="18" charset="0"/>
            <a:cs typeface="Times New Roman" panose="02020603050405020304" pitchFamily="18" charset="0"/>
          </a:endParaRPr>
        </a:p>
      </dgm:t>
    </dgm:pt>
    <dgm:pt modelId="{B5B80490-F178-41F5-A078-2EA12B56DFF8}" type="parTrans" cxnId="{D190B1D0-C40E-4E75-BF66-1F57FAAD13C9}">
      <dgm:prSet/>
      <dgm:spPr>
        <a:ln w="9525"/>
      </dgm:spPr>
      <dgm:t>
        <a:bodyPr/>
        <a:lstStyle/>
        <a:p>
          <a:endParaRPr lang="en-IN" sz="1200" b="0">
            <a:solidFill>
              <a:schemeClr val="tx1"/>
            </a:solidFill>
          </a:endParaRPr>
        </a:p>
      </dgm:t>
    </dgm:pt>
    <dgm:pt modelId="{FDF1AB97-4A48-4637-8967-E022162CF7F3}" type="sibTrans" cxnId="{D190B1D0-C40E-4E75-BF66-1F57FAAD13C9}">
      <dgm:prSet/>
      <dgm:spPr/>
      <dgm:t>
        <a:bodyPr/>
        <a:lstStyle/>
        <a:p>
          <a:endParaRPr lang="en-IN"/>
        </a:p>
      </dgm:t>
    </dgm:pt>
    <dgm:pt modelId="{08F8FBA4-611F-4D29-BB7B-E86BA3059C14}" type="pres">
      <dgm:prSet presAssocID="{46906A68-5958-4BB3-8051-96B3DD9EB2D0}" presName="hierChild1" presStyleCnt="0">
        <dgm:presLayoutVars>
          <dgm:orgChart val="1"/>
          <dgm:chPref val="1"/>
          <dgm:dir/>
          <dgm:animOne val="branch"/>
          <dgm:animLvl val="lvl"/>
          <dgm:resizeHandles/>
        </dgm:presLayoutVars>
      </dgm:prSet>
      <dgm:spPr/>
    </dgm:pt>
    <dgm:pt modelId="{E42ECFA3-13BD-4B2C-A1FF-C251862CA921}" type="pres">
      <dgm:prSet presAssocID="{D73630E0-1641-4EE3-A349-A88DBF5B8C8C}" presName="hierRoot1" presStyleCnt="0">
        <dgm:presLayoutVars>
          <dgm:hierBranch/>
        </dgm:presLayoutVars>
      </dgm:prSet>
      <dgm:spPr/>
    </dgm:pt>
    <dgm:pt modelId="{E73EB01B-4C25-479E-B285-63E1DE4A3FB3}" type="pres">
      <dgm:prSet presAssocID="{D73630E0-1641-4EE3-A349-A88DBF5B8C8C}" presName="rootComposite1" presStyleCnt="0"/>
      <dgm:spPr/>
    </dgm:pt>
    <dgm:pt modelId="{F7CC5B47-DBE3-4144-B1DF-D73A1F910A40}" type="pres">
      <dgm:prSet presAssocID="{D73630E0-1641-4EE3-A349-A88DBF5B8C8C}" presName="rootText1" presStyleLbl="node0" presStyleIdx="0" presStyleCnt="1">
        <dgm:presLayoutVars>
          <dgm:chPref val="3"/>
        </dgm:presLayoutVars>
      </dgm:prSet>
      <dgm:spPr>
        <a:prstGeom prst="roundRect">
          <a:avLst/>
        </a:prstGeom>
      </dgm:spPr>
    </dgm:pt>
    <dgm:pt modelId="{7E9E716D-96F2-417E-B640-D37661271A2C}" type="pres">
      <dgm:prSet presAssocID="{D73630E0-1641-4EE3-A349-A88DBF5B8C8C}" presName="rootConnector1" presStyleLbl="node1" presStyleIdx="0" presStyleCnt="0"/>
      <dgm:spPr/>
    </dgm:pt>
    <dgm:pt modelId="{C3CE6F91-DD1C-4277-B58D-8161450D2D4F}" type="pres">
      <dgm:prSet presAssocID="{D73630E0-1641-4EE3-A349-A88DBF5B8C8C}" presName="hierChild2" presStyleCnt="0"/>
      <dgm:spPr/>
    </dgm:pt>
    <dgm:pt modelId="{9FFFD934-AECD-4F1C-97D6-A094B3CAA19A}" type="pres">
      <dgm:prSet presAssocID="{71087FF2-C1B6-4C76-9FE1-4C7A71DE9AA0}" presName="Name35" presStyleLbl="parChTrans1D2" presStyleIdx="0" presStyleCnt="1"/>
      <dgm:spPr/>
    </dgm:pt>
    <dgm:pt modelId="{2EB9BE4B-2F25-4C2E-9A88-FE583B001080}" type="pres">
      <dgm:prSet presAssocID="{71EEF2DD-26E7-4C35-BB89-FB55F6BFB0EE}" presName="hierRoot2" presStyleCnt="0">
        <dgm:presLayoutVars>
          <dgm:hierBranch val="init"/>
        </dgm:presLayoutVars>
      </dgm:prSet>
      <dgm:spPr/>
    </dgm:pt>
    <dgm:pt modelId="{DBE93164-E30F-46CA-BF32-014060356E46}" type="pres">
      <dgm:prSet presAssocID="{71EEF2DD-26E7-4C35-BB89-FB55F6BFB0EE}" presName="rootComposite" presStyleCnt="0"/>
      <dgm:spPr/>
    </dgm:pt>
    <dgm:pt modelId="{F3DA3F9C-C0C5-4CB2-B9CE-54A3094A63DB}" type="pres">
      <dgm:prSet presAssocID="{71EEF2DD-26E7-4C35-BB89-FB55F6BFB0EE}" presName="rootText" presStyleLbl="node2" presStyleIdx="0" presStyleCnt="1" custScaleX="157315" custScaleY="74202">
        <dgm:presLayoutVars>
          <dgm:chPref val="3"/>
        </dgm:presLayoutVars>
      </dgm:prSet>
      <dgm:spPr>
        <a:prstGeom prst="roundRect">
          <a:avLst/>
        </a:prstGeom>
      </dgm:spPr>
    </dgm:pt>
    <dgm:pt modelId="{22FDF57D-4E05-4693-8FBF-1520CDA39FBA}" type="pres">
      <dgm:prSet presAssocID="{71EEF2DD-26E7-4C35-BB89-FB55F6BFB0EE}" presName="rootConnector" presStyleLbl="node2" presStyleIdx="0" presStyleCnt="1"/>
      <dgm:spPr/>
    </dgm:pt>
    <dgm:pt modelId="{43B34570-2877-4F30-AB17-B66241327F59}" type="pres">
      <dgm:prSet presAssocID="{71EEF2DD-26E7-4C35-BB89-FB55F6BFB0EE}" presName="hierChild4" presStyleCnt="0"/>
      <dgm:spPr/>
    </dgm:pt>
    <dgm:pt modelId="{32352314-B258-46FC-8D11-75C5DF618025}" type="pres">
      <dgm:prSet presAssocID="{BBB83B56-5356-4A89-994C-C9AF151D7076}" presName="Name37" presStyleLbl="parChTrans1D3" presStyleIdx="0" presStyleCnt="1"/>
      <dgm:spPr/>
    </dgm:pt>
    <dgm:pt modelId="{8B56EFFA-626F-4F67-A30D-3AB3254FC969}" type="pres">
      <dgm:prSet presAssocID="{B9BEF0A4-014B-4F4D-9FD9-E2FC74813BA6}" presName="hierRoot2" presStyleCnt="0">
        <dgm:presLayoutVars>
          <dgm:hierBranch val="init"/>
        </dgm:presLayoutVars>
      </dgm:prSet>
      <dgm:spPr/>
    </dgm:pt>
    <dgm:pt modelId="{BA351FEE-1D14-483E-9615-3FDD89FB276D}" type="pres">
      <dgm:prSet presAssocID="{B9BEF0A4-014B-4F4D-9FD9-E2FC74813BA6}" presName="rootComposite" presStyleCnt="0"/>
      <dgm:spPr/>
    </dgm:pt>
    <dgm:pt modelId="{004809F0-B4E1-4D0F-B3A8-11B2CEF9DFD6}" type="pres">
      <dgm:prSet presAssocID="{B9BEF0A4-014B-4F4D-9FD9-E2FC74813BA6}" presName="rootText" presStyleLbl="node3" presStyleIdx="0" presStyleCnt="1">
        <dgm:presLayoutVars>
          <dgm:chPref val="3"/>
        </dgm:presLayoutVars>
      </dgm:prSet>
      <dgm:spPr>
        <a:prstGeom prst="roundRect">
          <a:avLst/>
        </a:prstGeom>
      </dgm:spPr>
    </dgm:pt>
    <dgm:pt modelId="{56BA0F39-129F-4DE6-96DB-D015308D26ED}" type="pres">
      <dgm:prSet presAssocID="{B9BEF0A4-014B-4F4D-9FD9-E2FC74813BA6}" presName="rootConnector" presStyleLbl="node3" presStyleIdx="0" presStyleCnt="1"/>
      <dgm:spPr/>
    </dgm:pt>
    <dgm:pt modelId="{3E72D89E-8D2E-4E1B-A105-BCED2057AB8F}" type="pres">
      <dgm:prSet presAssocID="{B9BEF0A4-014B-4F4D-9FD9-E2FC74813BA6}" presName="hierChild4" presStyleCnt="0"/>
      <dgm:spPr/>
    </dgm:pt>
    <dgm:pt modelId="{E7E6E12A-A989-4BD5-8080-BC7B4838DF1D}" type="pres">
      <dgm:prSet presAssocID="{D7FFFFBE-FAA6-4199-A958-D586B186A487}" presName="Name37" presStyleLbl="parChTrans1D4" presStyleIdx="0" presStyleCnt="5"/>
      <dgm:spPr/>
    </dgm:pt>
    <dgm:pt modelId="{94577724-18AB-4FAD-8DA7-360D336A7687}" type="pres">
      <dgm:prSet presAssocID="{5595AE6C-B8D5-47EC-8E65-35E2747D6CD0}" presName="hierRoot2" presStyleCnt="0">
        <dgm:presLayoutVars>
          <dgm:hierBranch/>
        </dgm:presLayoutVars>
      </dgm:prSet>
      <dgm:spPr/>
    </dgm:pt>
    <dgm:pt modelId="{DF1299F1-B94C-4E49-A005-68CF2A58C79A}" type="pres">
      <dgm:prSet presAssocID="{5595AE6C-B8D5-47EC-8E65-35E2747D6CD0}" presName="rootComposite" presStyleCnt="0"/>
      <dgm:spPr/>
    </dgm:pt>
    <dgm:pt modelId="{F1EF926F-EBA7-47B1-B0EC-898602AAFB3A}" type="pres">
      <dgm:prSet presAssocID="{5595AE6C-B8D5-47EC-8E65-35E2747D6CD0}" presName="rootText" presStyleLbl="node4" presStyleIdx="0" presStyleCnt="5">
        <dgm:presLayoutVars>
          <dgm:chPref val="3"/>
        </dgm:presLayoutVars>
      </dgm:prSet>
      <dgm:spPr>
        <a:prstGeom prst="roundRect">
          <a:avLst/>
        </a:prstGeom>
      </dgm:spPr>
    </dgm:pt>
    <dgm:pt modelId="{1FAF30EE-C156-45E5-AF33-63C2249246E6}" type="pres">
      <dgm:prSet presAssocID="{5595AE6C-B8D5-47EC-8E65-35E2747D6CD0}" presName="rootConnector" presStyleLbl="node4" presStyleIdx="0" presStyleCnt="5"/>
      <dgm:spPr/>
    </dgm:pt>
    <dgm:pt modelId="{601993B9-C6EA-4E98-AABC-010621BB9F95}" type="pres">
      <dgm:prSet presAssocID="{5595AE6C-B8D5-47EC-8E65-35E2747D6CD0}" presName="hierChild4" presStyleCnt="0"/>
      <dgm:spPr/>
    </dgm:pt>
    <dgm:pt modelId="{A2AEB37D-4DBF-4AAE-99AF-83ED2254CD2A}" type="pres">
      <dgm:prSet presAssocID="{B5B80490-F178-41F5-A078-2EA12B56DFF8}" presName="Name35" presStyleLbl="parChTrans1D4" presStyleIdx="1" presStyleCnt="5"/>
      <dgm:spPr/>
    </dgm:pt>
    <dgm:pt modelId="{7C1A79CB-0606-4406-856C-0C4A4F2442A7}" type="pres">
      <dgm:prSet presAssocID="{ED54650C-9B1C-405F-9D22-51A9294A907D}" presName="hierRoot2" presStyleCnt="0">
        <dgm:presLayoutVars>
          <dgm:hierBranch val="init"/>
        </dgm:presLayoutVars>
      </dgm:prSet>
      <dgm:spPr/>
    </dgm:pt>
    <dgm:pt modelId="{C3F6D325-70DF-4CB8-A42F-E0C52A03628B}" type="pres">
      <dgm:prSet presAssocID="{ED54650C-9B1C-405F-9D22-51A9294A907D}" presName="rootComposite" presStyleCnt="0"/>
      <dgm:spPr/>
    </dgm:pt>
    <dgm:pt modelId="{F56F4AA2-F802-4D23-8D2C-277B7F1CD936}" type="pres">
      <dgm:prSet presAssocID="{ED54650C-9B1C-405F-9D22-51A9294A907D}" presName="rootText" presStyleLbl="node4" presStyleIdx="1" presStyleCnt="5">
        <dgm:presLayoutVars>
          <dgm:chPref val="3"/>
        </dgm:presLayoutVars>
      </dgm:prSet>
      <dgm:spPr>
        <a:prstGeom prst="roundRect">
          <a:avLst/>
        </a:prstGeom>
      </dgm:spPr>
    </dgm:pt>
    <dgm:pt modelId="{58BB33AB-36E1-4470-9E16-18FF7DD13E23}" type="pres">
      <dgm:prSet presAssocID="{ED54650C-9B1C-405F-9D22-51A9294A907D}" presName="rootConnector" presStyleLbl="node4" presStyleIdx="1" presStyleCnt="5"/>
      <dgm:spPr/>
    </dgm:pt>
    <dgm:pt modelId="{1C20B782-051E-4F76-970B-31C413577CEB}" type="pres">
      <dgm:prSet presAssocID="{ED54650C-9B1C-405F-9D22-51A9294A907D}" presName="hierChild4" presStyleCnt="0"/>
      <dgm:spPr/>
    </dgm:pt>
    <dgm:pt modelId="{BFB8449B-8EBA-44C2-B5FE-FB9143428558}" type="pres">
      <dgm:prSet presAssocID="{ED54650C-9B1C-405F-9D22-51A9294A907D}" presName="hierChild5" presStyleCnt="0"/>
      <dgm:spPr/>
    </dgm:pt>
    <dgm:pt modelId="{49710360-B29C-40FE-B0D6-F63396D6A9B2}" type="pres">
      <dgm:prSet presAssocID="{5595AE6C-B8D5-47EC-8E65-35E2747D6CD0}" presName="hierChild5" presStyleCnt="0"/>
      <dgm:spPr/>
    </dgm:pt>
    <dgm:pt modelId="{4A95A83A-E9BB-4020-BF73-3F2AAB1B26CC}" type="pres">
      <dgm:prSet presAssocID="{0B5EFAA1-58D0-4EAF-AD53-292CE913C03C}" presName="Name37" presStyleLbl="parChTrans1D4" presStyleIdx="2" presStyleCnt="5"/>
      <dgm:spPr/>
    </dgm:pt>
    <dgm:pt modelId="{6F9580FF-F85B-4F39-87B3-F9E8709BFD7E}" type="pres">
      <dgm:prSet presAssocID="{41CADA3D-2D30-49F0-8226-ED9F08069CF1}" presName="hierRoot2" presStyleCnt="0">
        <dgm:presLayoutVars>
          <dgm:hierBranch/>
        </dgm:presLayoutVars>
      </dgm:prSet>
      <dgm:spPr/>
    </dgm:pt>
    <dgm:pt modelId="{272AB68D-FE72-41AD-AD80-F26B65D9B020}" type="pres">
      <dgm:prSet presAssocID="{41CADA3D-2D30-49F0-8226-ED9F08069CF1}" presName="rootComposite" presStyleCnt="0"/>
      <dgm:spPr/>
    </dgm:pt>
    <dgm:pt modelId="{71861FBB-C4DF-4C6D-A639-D3F23FF4DE05}" type="pres">
      <dgm:prSet presAssocID="{41CADA3D-2D30-49F0-8226-ED9F08069CF1}" presName="rootText" presStyleLbl="node4" presStyleIdx="2" presStyleCnt="5" custScaleX="135293">
        <dgm:presLayoutVars>
          <dgm:chPref val="3"/>
        </dgm:presLayoutVars>
      </dgm:prSet>
      <dgm:spPr>
        <a:prstGeom prst="roundRect">
          <a:avLst/>
        </a:prstGeom>
      </dgm:spPr>
    </dgm:pt>
    <dgm:pt modelId="{A9E3E7F3-B4DD-4717-8DEA-18507C8F7472}" type="pres">
      <dgm:prSet presAssocID="{41CADA3D-2D30-49F0-8226-ED9F08069CF1}" presName="rootConnector" presStyleLbl="node4" presStyleIdx="2" presStyleCnt="5"/>
      <dgm:spPr/>
    </dgm:pt>
    <dgm:pt modelId="{90AA2D45-5E62-4D5A-AB0E-D54586C753A9}" type="pres">
      <dgm:prSet presAssocID="{41CADA3D-2D30-49F0-8226-ED9F08069CF1}" presName="hierChild4" presStyleCnt="0"/>
      <dgm:spPr/>
    </dgm:pt>
    <dgm:pt modelId="{042AAFB4-B90F-413D-B0F0-9CE9A6A99947}" type="pres">
      <dgm:prSet presAssocID="{ED95C841-430E-4042-81F3-23B5962C08B2}" presName="Name35" presStyleLbl="parChTrans1D4" presStyleIdx="3" presStyleCnt="5"/>
      <dgm:spPr/>
    </dgm:pt>
    <dgm:pt modelId="{A128F4F8-AA1D-4E56-B962-B47AAE6071B7}" type="pres">
      <dgm:prSet presAssocID="{25AB6093-F278-4686-BA83-3C64E9C840CD}" presName="hierRoot2" presStyleCnt="0">
        <dgm:presLayoutVars>
          <dgm:hierBranch val="init"/>
        </dgm:presLayoutVars>
      </dgm:prSet>
      <dgm:spPr/>
    </dgm:pt>
    <dgm:pt modelId="{7ADD26DA-AC28-4EF2-B2FE-E3F874A3B892}" type="pres">
      <dgm:prSet presAssocID="{25AB6093-F278-4686-BA83-3C64E9C840CD}" presName="rootComposite" presStyleCnt="0"/>
      <dgm:spPr/>
    </dgm:pt>
    <dgm:pt modelId="{6A9EBC94-2B67-4B09-A686-C83A9D3F2421}" type="pres">
      <dgm:prSet presAssocID="{25AB6093-F278-4686-BA83-3C64E9C840CD}" presName="rootText" presStyleLbl="node4" presStyleIdx="3" presStyleCnt="5" custScaleX="136174" custScaleY="92516">
        <dgm:presLayoutVars>
          <dgm:chPref val="3"/>
        </dgm:presLayoutVars>
      </dgm:prSet>
      <dgm:spPr>
        <a:prstGeom prst="roundRect">
          <a:avLst/>
        </a:prstGeom>
      </dgm:spPr>
    </dgm:pt>
    <dgm:pt modelId="{77F474D9-03A4-4E22-9974-2DD4938D8723}" type="pres">
      <dgm:prSet presAssocID="{25AB6093-F278-4686-BA83-3C64E9C840CD}" presName="rootConnector" presStyleLbl="node4" presStyleIdx="3" presStyleCnt="5"/>
      <dgm:spPr/>
    </dgm:pt>
    <dgm:pt modelId="{C1A73828-B0EC-4E95-AAE9-A780324E6BCA}" type="pres">
      <dgm:prSet presAssocID="{25AB6093-F278-4686-BA83-3C64E9C840CD}" presName="hierChild4" presStyleCnt="0"/>
      <dgm:spPr/>
    </dgm:pt>
    <dgm:pt modelId="{90C6F78C-169C-4D57-83A9-0287AEC245C1}" type="pres">
      <dgm:prSet presAssocID="{25AB6093-F278-4686-BA83-3C64E9C840CD}" presName="hierChild5" presStyleCnt="0"/>
      <dgm:spPr/>
    </dgm:pt>
    <dgm:pt modelId="{055A0BCB-106E-4B7D-B161-443EBCB670D0}" type="pres">
      <dgm:prSet presAssocID="{059A6FDB-9C72-49F2-8069-04F569747161}" presName="Name35" presStyleLbl="parChTrans1D4" presStyleIdx="4" presStyleCnt="5"/>
      <dgm:spPr/>
    </dgm:pt>
    <dgm:pt modelId="{5A1A72D4-1C20-4C6E-8E26-F682136C226A}" type="pres">
      <dgm:prSet presAssocID="{E542A962-5990-4807-9AA0-D8D2B6AED73D}" presName="hierRoot2" presStyleCnt="0">
        <dgm:presLayoutVars>
          <dgm:hierBranch val="init"/>
        </dgm:presLayoutVars>
      </dgm:prSet>
      <dgm:spPr/>
    </dgm:pt>
    <dgm:pt modelId="{0F59DB51-6F83-4D7C-9FF3-6830AFF67044}" type="pres">
      <dgm:prSet presAssocID="{E542A962-5990-4807-9AA0-D8D2B6AED73D}" presName="rootComposite" presStyleCnt="0"/>
      <dgm:spPr/>
    </dgm:pt>
    <dgm:pt modelId="{75A05023-817C-4E28-B94A-B10647AFBF56}" type="pres">
      <dgm:prSet presAssocID="{E542A962-5990-4807-9AA0-D8D2B6AED73D}" presName="rootText" presStyleLbl="node4" presStyleIdx="4" presStyleCnt="5" custScaleX="126536" custScaleY="94053">
        <dgm:presLayoutVars>
          <dgm:chPref val="3"/>
        </dgm:presLayoutVars>
      </dgm:prSet>
      <dgm:spPr>
        <a:prstGeom prst="roundRect">
          <a:avLst/>
        </a:prstGeom>
      </dgm:spPr>
    </dgm:pt>
    <dgm:pt modelId="{48F7CB1C-F176-4A11-A56E-CC0530DAE3AF}" type="pres">
      <dgm:prSet presAssocID="{E542A962-5990-4807-9AA0-D8D2B6AED73D}" presName="rootConnector" presStyleLbl="node4" presStyleIdx="4" presStyleCnt="5"/>
      <dgm:spPr/>
    </dgm:pt>
    <dgm:pt modelId="{B9F1F5A5-8C65-489F-91A4-E255BEAADBB3}" type="pres">
      <dgm:prSet presAssocID="{E542A962-5990-4807-9AA0-D8D2B6AED73D}" presName="hierChild4" presStyleCnt="0"/>
      <dgm:spPr/>
    </dgm:pt>
    <dgm:pt modelId="{1BA8F3DC-4ACE-46A1-B19D-314502C1D3B0}" type="pres">
      <dgm:prSet presAssocID="{E542A962-5990-4807-9AA0-D8D2B6AED73D}" presName="hierChild5" presStyleCnt="0"/>
      <dgm:spPr/>
    </dgm:pt>
    <dgm:pt modelId="{DDC84EAF-B656-46E9-B700-5A0171A14BAE}" type="pres">
      <dgm:prSet presAssocID="{41CADA3D-2D30-49F0-8226-ED9F08069CF1}" presName="hierChild5" presStyleCnt="0"/>
      <dgm:spPr/>
    </dgm:pt>
    <dgm:pt modelId="{7582EEA1-9955-4A1C-BDFE-BF91CEAAE9A5}" type="pres">
      <dgm:prSet presAssocID="{B9BEF0A4-014B-4F4D-9FD9-E2FC74813BA6}" presName="hierChild5" presStyleCnt="0"/>
      <dgm:spPr/>
    </dgm:pt>
    <dgm:pt modelId="{8B2587EE-D240-4709-B91E-D3F7BAE56ACC}" type="pres">
      <dgm:prSet presAssocID="{71EEF2DD-26E7-4C35-BB89-FB55F6BFB0EE}" presName="hierChild5" presStyleCnt="0"/>
      <dgm:spPr/>
    </dgm:pt>
    <dgm:pt modelId="{4B0A3328-F54D-4491-B4E3-739C099407C3}" type="pres">
      <dgm:prSet presAssocID="{D73630E0-1641-4EE3-A349-A88DBF5B8C8C}" presName="hierChild3" presStyleCnt="0"/>
      <dgm:spPr/>
    </dgm:pt>
  </dgm:ptLst>
  <dgm:cxnLst>
    <dgm:cxn modelId="{F96A1403-04B2-498E-8809-F9032342574A}" type="presOf" srcId="{D73630E0-1641-4EE3-A349-A88DBF5B8C8C}" destId="{F7CC5B47-DBE3-4144-B1DF-D73A1F910A40}" srcOrd="0" destOrd="0" presId="urn:microsoft.com/office/officeart/2005/8/layout/orgChart1"/>
    <dgm:cxn modelId="{2F7F7104-6AA3-4B4C-BC21-9468DD10DC6C}" srcId="{41CADA3D-2D30-49F0-8226-ED9F08069CF1}" destId="{25AB6093-F278-4686-BA83-3C64E9C840CD}" srcOrd="0" destOrd="0" parTransId="{ED95C841-430E-4042-81F3-23B5962C08B2}" sibTransId="{45CD7733-D11D-45EB-B884-DC58E69834E6}"/>
    <dgm:cxn modelId="{3374DF12-F448-4BC9-9AE7-C3439DFC3BFF}" type="presOf" srcId="{46906A68-5958-4BB3-8051-96B3DD9EB2D0}" destId="{08F8FBA4-611F-4D29-BB7B-E86BA3059C14}" srcOrd="0" destOrd="0" presId="urn:microsoft.com/office/officeart/2005/8/layout/orgChart1"/>
    <dgm:cxn modelId="{561B8E15-9486-48E4-94DE-08EEFF1E956F}" srcId="{46906A68-5958-4BB3-8051-96B3DD9EB2D0}" destId="{D73630E0-1641-4EE3-A349-A88DBF5B8C8C}" srcOrd="0" destOrd="0" parTransId="{F8CBFD2A-6420-4F22-B5CB-038536856E05}" sibTransId="{81562288-F405-4115-BFC2-66606462C6A5}"/>
    <dgm:cxn modelId="{B1E2031B-DABC-48D2-BF0D-076EB531981D}" srcId="{B9BEF0A4-014B-4F4D-9FD9-E2FC74813BA6}" destId="{41CADA3D-2D30-49F0-8226-ED9F08069CF1}" srcOrd="1" destOrd="0" parTransId="{0B5EFAA1-58D0-4EAF-AD53-292CE913C03C}" sibTransId="{2F938811-2D98-4E74-944F-5B5459C09C89}"/>
    <dgm:cxn modelId="{680C162C-2534-4E1E-BEC2-6497D4D316E0}" type="presOf" srcId="{B9BEF0A4-014B-4F4D-9FD9-E2FC74813BA6}" destId="{56BA0F39-129F-4DE6-96DB-D015308D26ED}" srcOrd="1" destOrd="0" presId="urn:microsoft.com/office/officeart/2005/8/layout/orgChart1"/>
    <dgm:cxn modelId="{79432C2D-E910-49A5-BB28-C207B5265501}" type="presOf" srcId="{B5B80490-F178-41F5-A078-2EA12B56DFF8}" destId="{A2AEB37D-4DBF-4AAE-99AF-83ED2254CD2A}" srcOrd="0" destOrd="0" presId="urn:microsoft.com/office/officeart/2005/8/layout/orgChart1"/>
    <dgm:cxn modelId="{C77E2A3E-12C1-488E-9CBB-7E9D0A56145E}" type="presOf" srcId="{E542A962-5990-4807-9AA0-D8D2B6AED73D}" destId="{75A05023-817C-4E28-B94A-B10647AFBF56}" srcOrd="0" destOrd="0" presId="urn:microsoft.com/office/officeart/2005/8/layout/orgChart1"/>
    <dgm:cxn modelId="{9486055E-D9E3-49E6-B8AC-409E187C5B35}" type="presOf" srcId="{B9BEF0A4-014B-4F4D-9FD9-E2FC74813BA6}" destId="{004809F0-B4E1-4D0F-B3A8-11B2CEF9DFD6}" srcOrd="0" destOrd="0" presId="urn:microsoft.com/office/officeart/2005/8/layout/orgChart1"/>
    <dgm:cxn modelId="{30848F43-0A2B-4D27-9A7E-531768B7D02A}" srcId="{B9BEF0A4-014B-4F4D-9FD9-E2FC74813BA6}" destId="{5595AE6C-B8D5-47EC-8E65-35E2747D6CD0}" srcOrd="0" destOrd="0" parTransId="{D7FFFFBE-FAA6-4199-A958-D586B186A487}" sibTransId="{D4282033-960C-4957-B8B4-009E76807C4F}"/>
    <dgm:cxn modelId="{931CE56A-D3B5-422F-9E25-30FB1AF9B614}" srcId="{D73630E0-1641-4EE3-A349-A88DBF5B8C8C}" destId="{71EEF2DD-26E7-4C35-BB89-FB55F6BFB0EE}" srcOrd="0" destOrd="0" parTransId="{71087FF2-C1B6-4C76-9FE1-4C7A71DE9AA0}" sibTransId="{F7C31FB7-EDC1-4D6B-88C6-079DC320DB49}"/>
    <dgm:cxn modelId="{259EDA4F-6791-4F66-BBC4-899EDA87891A}" type="presOf" srcId="{ED95C841-430E-4042-81F3-23B5962C08B2}" destId="{042AAFB4-B90F-413D-B0F0-9CE9A6A99947}" srcOrd="0" destOrd="0" presId="urn:microsoft.com/office/officeart/2005/8/layout/orgChart1"/>
    <dgm:cxn modelId="{03806A7D-9D75-44B9-ACEF-4E4415C3353F}" type="presOf" srcId="{ED54650C-9B1C-405F-9D22-51A9294A907D}" destId="{58BB33AB-36E1-4470-9E16-18FF7DD13E23}" srcOrd="1" destOrd="0" presId="urn:microsoft.com/office/officeart/2005/8/layout/orgChart1"/>
    <dgm:cxn modelId="{12FFD27E-9052-4F6C-B5B5-18D8D959332D}" type="presOf" srcId="{25AB6093-F278-4686-BA83-3C64E9C840CD}" destId="{77F474D9-03A4-4E22-9974-2DD4938D8723}" srcOrd="1" destOrd="0" presId="urn:microsoft.com/office/officeart/2005/8/layout/orgChart1"/>
    <dgm:cxn modelId="{368CC883-0179-4827-A0DB-CED00620B250}" type="presOf" srcId="{D7FFFFBE-FAA6-4199-A958-D586B186A487}" destId="{E7E6E12A-A989-4BD5-8080-BC7B4838DF1D}" srcOrd="0" destOrd="0" presId="urn:microsoft.com/office/officeart/2005/8/layout/orgChart1"/>
    <dgm:cxn modelId="{AD52B884-5FEE-4CFA-ACB3-DE55D5DE45F9}" srcId="{71EEF2DD-26E7-4C35-BB89-FB55F6BFB0EE}" destId="{B9BEF0A4-014B-4F4D-9FD9-E2FC74813BA6}" srcOrd="0" destOrd="0" parTransId="{BBB83B56-5356-4A89-994C-C9AF151D7076}" sibTransId="{3A00FC5B-9E38-4EFE-86D0-A2ED9877E806}"/>
    <dgm:cxn modelId="{2228B08C-5820-41C6-85E5-20D8E95471C2}" type="presOf" srcId="{BBB83B56-5356-4A89-994C-C9AF151D7076}" destId="{32352314-B258-46FC-8D11-75C5DF618025}" srcOrd="0" destOrd="0" presId="urn:microsoft.com/office/officeart/2005/8/layout/orgChart1"/>
    <dgm:cxn modelId="{5FDE7893-A739-4693-8B96-F066F289D35B}" type="presOf" srcId="{41CADA3D-2D30-49F0-8226-ED9F08069CF1}" destId="{71861FBB-C4DF-4C6D-A639-D3F23FF4DE05}" srcOrd="0" destOrd="0" presId="urn:microsoft.com/office/officeart/2005/8/layout/orgChart1"/>
    <dgm:cxn modelId="{FC549395-E250-4F58-97FD-CAA8AFDD5863}" srcId="{41CADA3D-2D30-49F0-8226-ED9F08069CF1}" destId="{E542A962-5990-4807-9AA0-D8D2B6AED73D}" srcOrd="1" destOrd="0" parTransId="{059A6FDB-9C72-49F2-8069-04F569747161}" sibTransId="{C10B6776-AD9E-4AB0-8E77-D04BB9C1D733}"/>
    <dgm:cxn modelId="{9A095E96-B499-4172-AEA4-D3AC46CE44B6}" type="presOf" srcId="{5595AE6C-B8D5-47EC-8E65-35E2747D6CD0}" destId="{F1EF926F-EBA7-47B1-B0EC-898602AAFB3A}" srcOrd="0" destOrd="0" presId="urn:microsoft.com/office/officeart/2005/8/layout/orgChart1"/>
    <dgm:cxn modelId="{EEB982A4-10FC-40DC-BBC6-94B4DA7617FD}" type="presOf" srcId="{5595AE6C-B8D5-47EC-8E65-35E2747D6CD0}" destId="{1FAF30EE-C156-45E5-AF33-63C2249246E6}" srcOrd="1" destOrd="0" presId="urn:microsoft.com/office/officeart/2005/8/layout/orgChart1"/>
    <dgm:cxn modelId="{16A4FEAC-235A-4450-B76B-D57FE824721C}" type="presOf" srcId="{ED54650C-9B1C-405F-9D22-51A9294A907D}" destId="{F56F4AA2-F802-4D23-8D2C-277B7F1CD936}" srcOrd="0" destOrd="0" presId="urn:microsoft.com/office/officeart/2005/8/layout/orgChart1"/>
    <dgm:cxn modelId="{7B6EADAE-897E-46D5-AEE5-C45DD4439EAF}" type="presOf" srcId="{41CADA3D-2D30-49F0-8226-ED9F08069CF1}" destId="{A9E3E7F3-B4DD-4717-8DEA-18507C8F7472}" srcOrd="1" destOrd="0" presId="urn:microsoft.com/office/officeart/2005/8/layout/orgChart1"/>
    <dgm:cxn modelId="{C5F674AF-9EB9-42B6-8DD9-818034A38757}" type="presOf" srcId="{D73630E0-1641-4EE3-A349-A88DBF5B8C8C}" destId="{7E9E716D-96F2-417E-B640-D37661271A2C}" srcOrd="1" destOrd="0" presId="urn:microsoft.com/office/officeart/2005/8/layout/orgChart1"/>
    <dgm:cxn modelId="{267928B9-CF91-47B0-A80B-0B493C59FD37}" type="presOf" srcId="{25AB6093-F278-4686-BA83-3C64E9C840CD}" destId="{6A9EBC94-2B67-4B09-A686-C83A9D3F2421}" srcOrd="0" destOrd="0" presId="urn:microsoft.com/office/officeart/2005/8/layout/orgChart1"/>
    <dgm:cxn modelId="{93960BBF-6DC8-4BA8-A95E-D71FBBED2553}" type="presOf" srcId="{E542A962-5990-4807-9AA0-D8D2B6AED73D}" destId="{48F7CB1C-F176-4A11-A56E-CC0530DAE3AF}" srcOrd="1" destOrd="0" presId="urn:microsoft.com/office/officeart/2005/8/layout/orgChart1"/>
    <dgm:cxn modelId="{C00241C0-0176-4A40-AE87-0BA4DF3C1FE4}" type="presOf" srcId="{71087FF2-C1B6-4C76-9FE1-4C7A71DE9AA0}" destId="{9FFFD934-AECD-4F1C-97D6-A094B3CAA19A}" srcOrd="0" destOrd="0" presId="urn:microsoft.com/office/officeart/2005/8/layout/orgChart1"/>
    <dgm:cxn modelId="{D190B1D0-C40E-4E75-BF66-1F57FAAD13C9}" srcId="{5595AE6C-B8D5-47EC-8E65-35E2747D6CD0}" destId="{ED54650C-9B1C-405F-9D22-51A9294A907D}" srcOrd="0" destOrd="0" parTransId="{B5B80490-F178-41F5-A078-2EA12B56DFF8}" sibTransId="{FDF1AB97-4A48-4637-8967-E022162CF7F3}"/>
    <dgm:cxn modelId="{FB3804D5-E9D9-487F-BFA7-FE86F18A88B0}" type="presOf" srcId="{71EEF2DD-26E7-4C35-BB89-FB55F6BFB0EE}" destId="{22FDF57D-4E05-4693-8FBF-1520CDA39FBA}" srcOrd="1" destOrd="0" presId="urn:microsoft.com/office/officeart/2005/8/layout/orgChart1"/>
    <dgm:cxn modelId="{CB6804DA-053A-406A-9740-2472DB8C6BCC}" type="presOf" srcId="{0B5EFAA1-58D0-4EAF-AD53-292CE913C03C}" destId="{4A95A83A-E9BB-4020-BF73-3F2AAB1B26CC}" srcOrd="0" destOrd="0" presId="urn:microsoft.com/office/officeart/2005/8/layout/orgChart1"/>
    <dgm:cxn modelId="{6DDDF5DF-42E6-49BD-88A7-D96D0ABE91B1}" type="presOf" srcId="{71EEF2DD-26E7-4C35-BB89-FB55F6BFB0EE}" destId="{F3DA3F9C-C0C5-4CB2-B9CE-54A3094A63DB}" srcOrd="0" destOrd="0" presId="urn:microsoft.com/office/officeart/2005/8/layout/orgChart1"/>
    <dgm:cxn modelId="{C94F9AFD-1699-4C32-9856-5DB32608CE63}" type="presOf" srcId="{059A6FDB-9C72-49F2-8069-04F569747161}" destId="{055A0BCB-106E-4B7D-B161-443EBCB670D0}" srcOrd="0" destOrd="0" presId="urn:microsoft.com/office/officeart/2005/8/layout/orgChart1"/>
    <dgm:cxn modelId="{16D9BE9F-981D-488C-B7F7-70FABDBCA536}" type="presParOf" srcId="{08F8FBA4-611F-4D29-BB7B-E86BA3059C14}" destId="{E42ECFA3-13BD-4B2C-A1FF-C251862CA921}" srcOrd="0" destOrd="0" presId="urn:microsoft.com/office/officeart/2005/8/layout/orgChart1"/>
    <dgm:cxn modelId="{E97CA571-F3AF-4524-B406-3979A4E09BCD}" type="presParOf" srcId="{E42ECFA3-13BD-4B2C-A1FF-C251862CA921}" destId="{E73EB01B-4C25-479E-B285-63E1DE4A3FB3}" srcOrd="0" destOrd="0" presId="urn:microsoft.com/office/officeart/2005/8/layout/orgChart1"/>
    <dgm:cxn modelId="{3AC9F680-2732-41DE-AABE-B933334378CD}" type="presParOf" srcId="{E73EB01B-4C25-479E-B285-63E1DE4A3FB3}" destId="{F7CC5B47-DBE3-4144-B1DF-D73A1F910A40}" srcOrd="0" destOrd="0" presId="urn:microsoft.com/office/officeart/2005/8/layout/orgChart1"/>
    <dgm:cxn modelId="{D28B0031-7028-4F0F-9601-1E048316194E}" type="presParOf" srcId="{E73EB01B-4C25-479E-B285-63E1DE4A3FB3}" destId="{7E9E716D-96F2-417E-B640-D37661271A2C}" srcOrd="1" destOrd="0" presId="urn:microsoft.com/office/officeart/2005/8/layout/orgChart1"/>
    <dgm:cxn modelId="{43849523-DF83-457C-AF35-FA75A34D8632}" type="presParOf" srcId="{E42ECFA3-13BD-4B2C-A1FF-C251862CA921}" destId="{C3CE6F91-DD1C-4277-B58D-8161450D2D4F}" srcOrd="1" destOrd="0" presId="urn:microsoft.com/office/officeart/2005/8/layout/orgChart1"/>
    <dgm:cxn modelId="{C1C37BFD-AE72-4D3D-A2BE-236DE678A770}" type="presParOf" srcId="{C3CE6F91-DD1C-4277-B58D-8161450D2D4F}" destId="{9FFFD934-AECD-4F1C-97D6-A094B3CAA19A}" srcOrd="0" destOrd="0" presId="urn:microsoft.com/office/officeart/2005/8/layout/orgChart1"/>
    <dgm:cxn modelId="{9B0B05B7-B77B-4F10-AC8E-9D33E60BF7D9}" type="presParOf" srcId="{C3CE6F91-DD1C-4277-B58D-8161450D2D4F}" destId="{2EB9BE4B-2F25-4C2E-9A88-FE583B001080}" srcOrd="1" destOrd="0" presId="urn:microsoft.com/office/officeart/2005/8/layout/orgChart1"/>
    <dgm:cxn modelId="{352109FC-6357-4B40-9708-60AF6B0CAD40}" type="presParOf" srcId="{2EB9BE4B-2F25-4C2E-9A88-FE583B001080}" destId="{DBE93164-E30F-46CA-BF32-014060356E46}" srcOrd="0" destOrd="0" presId="urn:microsoft.com/office/officeart/2005/8/layout/orgChart1"/>
    <dgm:cxn modelId="{F5DDFFEB-4260-459E-9A0A-DCC1A05302C2}" type="presParOf" srcId="{DBE93164-E30F-46CA-BF32-014060356E46}" destId="{F3DA3F9C-C0C5-4CB2-B9CE-54A3094A63DB}" srcOrd="0" destOrd="0" presId="urn:microsoft.com/office/officeart/2005/8/layout/orgChart1"/>
    <dgm:cxn modelId="{7EE22991-121C-4DE1-9DE1-37808FF32A8B}" type="presParOf" srcId="{DBE93164-E30F-46CA-BF32-014060356E46}" destId="{22FDF57D-4E05-4693-8FBF-1520CDA39FBA}" srcOrd="1" destOrd="0" presId="urn:microsoft.com/office/officeart/2005/8/layout/orgChart1"/>
    <dgm:cxn modelId="{6E3A0936-7C0E-4082-9543-CA3BFFF495D9}" type="presParOf" srcId="{2EB9BE4B-2F25-4C2E-9A88-FE583B001080}" destId="{43B34570-2877-4F30-AB17-B66241327F59}" srcOrd="1" destOrd="0" presId="urn:microsoft.com/office/officeart/2005/8/layout/orgChart1"/>
    <dgm:cxn modelId="{3B1E3101-F124-4DDF-804B-4FBE22BE923A}" type="presParOf" srcId="{43B34570-2877-4F30-AB17-B66241327F59}" destId="{32352314-B258-46FC-8D11-75C5DF618025}" srcOrd="0" destOrd="0" presId="urn:microsoft.com/office/officeart/2005/8/layout/orgChart1"/>
    <dgm:cxn modelId="{0D3861A1-459B-46A1-95C2-401BD62F60F0}" type="presParOf" srcId="{43B34570-2877-4F30-AB17-B66241327F59}" destId="{8B56EFFA-626F-4F67-A30D-3AB3254FC969}" srcOrd="1" destOrd="0" presId="urn:microsoft.com/office/officeart/2005/8/layout/orgChart1"/>
    <dgm:cxn modelId="{89B04BBB-F9C8-435E-89E6-0667B9BBE7B4}" type="presParOf" srcId="{8B56EFFA-626F-4F67-A30D-3AB3254FC969}" destId="{BA351FEE-1D14-483E-9615-3FDD89FB276D}" srcOrd="0" destOrd="0" presId="urn:microsoft.com/office/officeart/2005/8/layout/orgChart1"/>
    <dgm:cxn modelId="{95D9842A-D1AB-45FE-9941-CC0F81DBB3A7}" type="presParOf" srcId="{BA351FEE-1D14-483E-9615-3FDD89FB276D}" destId="{004809F0-B4E1-4D0F-B3A8-11B2CEF9DFD6}" srcOrd="0" destOrd="0" presId="urn:microsoft.com/office/officeart/2005/8/layout/orgChart1"/>
    <dgm:cxn modelId="{8AC65FC5-FF96-428E-A734-F11BFB0A162F}" type="presParOf" srcId="{BA351FEE-1D14-483E-9615-3FDD89FB276D}" destId="{56BA0F39-129F-4DE6-96DB-D015308D26ED}" srcOrd="1" destOrd="0" presId="urn:microsoft.com/office/officeart/2005/8/layout/orgChart1"/>
    <dgm:cxn modelId="{5A3F13EE-974C-4A4E-AEF0-90AEA00F44EC}" type="presParOf" srcId="{8B56EFFA-626F-4F67-A30D-3AB3254FC969}" destId="{3E72D89E-8D2E-4E1B-A105-BCED2057AB8F}" srcOrd="1" destOrd="0" presId="urn:microsoft.com/office/officeart/2005/8/layout/orgChart1"/>
    <dgm:cxn modelId="{9A4A9920-7B7A-444E-9781-EB29F1EC567D}" type="presParOf" srcId="{3E72D89E-8D2E-4E1B-A105-BCED2057AB8F}" destId="{E7E6E12A-A989-4BD5-8080-BC7B4838DF1D}" srcOrd="0" destOrd="0" presId="urn:microsoft.com/office/officeart/2005/8/layout/orgChart1"/>
    <dgm:cxn modelId="{F2D82D3E-1F3A-4CB0-AAFD-3545709117D6}" type="presParOf" srcId="{3E72D89E-8D2E-4E1B-A105-BCED2057AB8F}" destId="{94577724-18AB-4FAD-8DA7-360D336A7687}" srcOrd="1" destOrd="0" presId="urn:microsoft.com/office/officeart/2005/8/layout/orgChart1"/>
    <dgm:cxn modelId="{8D1E739C-E271-454D-AC2A-8149023C130A}" type="presParOf" srcId="{94577724-18AB-4FAD-8DA7-360D336A7687}" destId="{DF1299F1-B94C-4E49-A005-68CF2A58C79A}" srcOrd="0" destOrd="0" presId="urn:microsoft.com/office/officeart/2005/8/layout/orgChart1"/>
    <dgm:cxn modelId="{E1CA4310-3079-4008-A370-65744558681E}" type="presParOf" srcId="{DF1299F1-B94C-4E49-A005-68CF2A58C79A}" destId="{F1EF926F-EBA7-47B1-B0EC-898602AAFB3A}" srcOrd="0" destOrd="0" presId="urn:microsoft.com/office/officeart/2005/8/layout/orgChart1"/>
    <dgm:cxn modelId="{F0E77013-829B-486C-BAFE-DB0D7355CDB9}" type="presParOf" srcId="{DF1299F1-B94C-4E49-A005-68CF2A58C79A}" destId="{1FAF30EE-C156-45E5-AF33-63C2249246E6}" srcOrd="1" destOrd="0" presId="urn:microsoft.com/office/officeart/2005/8/layout/orgChart1"/>
    <dgm:cxn modelId="{3490CF52-BFAC-41A9-BDD8-F5787B70186B}" type="presParOf" srcId="{94577724-18AB-4FAD-8DA7-360D336A7687}" destId="{601993B9-C6EA-4E98-AABC-010621BB9F95}" srcOrd="1" destOrd="0" presId="urn:microsoft.com/office/officeart/2005/8/layout/orgChart1"/>
    <dgm:cxn modelId="{E3BCD51F-57FC-4A47-9F1A-52C9EF0BF939}" type="presParOf" srcId="{601993B9-C6EA-4E98-AABC-010621BB9F95}" destId="{A2AEB37D-4DBF-4AAE-99AF-83ED2254CD2A}" srcOrd="0" destOrd="0" presId="urn:microsoft.com/office/officeart/2005/8/layout/orgChart1"/>
    <dgm:cxn modelId="{CBB419C9-7212-4B04-B225-59C1EF2E3867}" type="presParOf" srcId="{601993B9-C6EA-4E98-AABC-010621BB9F95}" destId="{7C1A79CB-0606-4406-856C-0C4A4F2442A7}" srcOrd="1" destOrd="0" presId="urn:microsoft.com/office/officeart/2005/8/layout/orgChart1"/>
    <dgm:cxn modelId="{678244CE-790E-4F72-A6FA-670F3ECC4072}" type="presParOf" srcId="{7C1A79CB-0606-4406-856C-0C4A4F2442A7}" destId="{C3F6D325-70DF-4CB8-A42F-E0C52A03628B}" srcOrd="0" destOrd="0" presId="urn:microsoft.com/office/officeart/2005/8/layout/orgChart1"/>
    <dgm:cxn modelId="{CF4A1EED-647A-4A8E-A84F-8882B00FAF12}" type="presParOf" srcId="{C3F6D325-70DF-4CB8-A42F-E0C52A03628B}" destId="{F56F4AA2-F802-4D23-8D2C-277B7F1CD936}" srcOrd="0" destOrd="0" presId="urn:microsoft.com/office/officeart/2005/8/layout/orgChart1"/>
    <dgm:cxn modelId="{C0A31F0A-D890-4464-905F-649126E14F8A}" type="presParOf" srcId="{C3F6D325-70DF-4CB8-A42F-E0C52A03628B}" destId="{58BB33AB-36E1-4470-9E16-18FF7DD13E23}" srcOrd="1" destOrd="0" presId="urn:microsoft.com/office/officeart/2005/8/layout/orgChart1"/>
    <dgm:cxn modelId="{51CF00A2-8D1E-4A7A-9E90-47D42C057D4F}" type="presParOf" srcId="{7C1A79CB-0606-4406-856C-0C4A4F2442A7}" destId="{1C20B782-051E-4F76-970B-31C413577CEB}" srcOrd="1" destOrd="0" presId="urn:microsoft.com/office/officeart/2005/8/layout/orgChart1"/>
    <dgm:cxn modelId="{A57B4844-5EE3-4048-B71E-1D77ACD65F3E}" type="presParOf" srcId="{7C1A79CB-0606-4406-856C-0C4A4F2442A7}" destId="{BFB8449B-8EBA-44C2-B5FE-FB9143428558}" srcOrd="2" destOrd="0" presId="urn:microsoft.com/office/officeart/2005/8/layout/orgChart1"/>
    <dgm:cxn modelId="{C3EF744F-50CD-4594-9C78-AB42A71682A3}" type="presParOf" srcId="{94577724-18AB-4FAD-8DA7-360D336A7687}" destId="{49710360-B29C-40FE-B0D6-F63396D6A9B2}" srcOrd="2" destOrd="0" presId="urn:microsoft.com/office/officeart/2005/8/layout/orgChart1"/>
    <dgm:cxn modelId="{35601EE5-B70A-48E3-AB1F-5EF3F51460DA}" type="presParOf" srcId="{3E72D89E-8D2E-4E1B-A105-BCED2057AB8F}" destId="{4A95A83A-E9BB-4020-BF73-3F2AAB1B26CC}" srcOrd="2" destOrd="0" presId="urn:microsoft.com/office/officeart/2005/8/layout/orgChart1"/>
    <dgm:cxn modelId="{6C98D413-AC89-42D8-ABEC-6CEF8CCCD574}" type="presParOf" srcId="{3E72D89E-8D2E-4E1B-A105-BCED2057AB8F}" destId="{6F9580FF-F85B-4F39-87B3-F9E8709BFD7E}" srcOrd="3" destOrd="0" presId="urn:microsoft.com/office/officeart/2005/8/layout/orgChart1"/>
    <dgm:cxn modelId="{8A8EA440-73A4-4FEB-AD07-22A6CD9A0D82}" type="presParOf" srcId="{6F9580FF-F85B-4F39-87B3-F9E8709BFD7E}" destId="{272AB68D-FE72-41AD-AD80-F26B65D9B020}" srcOrd="0" destOrd="0" presId="urn:microsoft.com/office/officeart/2005/8/layout/orgChart1"/>
    <dgm:cxn modelId="{3889ED88-4EF8-43A2-82ED-AC784161C394}" type="presParOf" srcId="{272AB68D-FE72-41AD-AD80-F26B65D9B020}" destId="{71861FBB-C4DF-4C6D-A639-D3F23FF4DE05}" srcOrd="0" destOrd="0" presId="urn:microsoft.com/office/officeart/2005/8/layout/orgChart1"/>
    <dgm:cxn modelId="{6B5EB77E-709A-484D-A791-0748DD6EDCC2}" type="presParOf" srcId="{272AB68D-FE72-41AD-AD80-F26B65D9B020}" destId="{A9E3E7F3-B4DD-4717-8DEA-18507C8F7472}" srcOrd="1" destOrd="0" presId="urn:microsoft.com/office/officeart/2005/8/layout/orgChart1"/>
    <dgm:cxn modelId="{E74A5FC3-6BE3-45E7-A002-C5EFFBAC74E3}" type="presParOf" srcId="{6F9580FF-F85B-4F39-87B3-F9E8709BFD7E}" destId="{90AA2D45-5E62-4D5A-AB0E-D54586C753A9}" srcOrd="1" destOrd="0" presId="urn:microsoft.com/office/officeart/2005/8/layout/orgChart1"/>
    <dgm:cxn modelId="{4B8BB6D0-0735-40DF-9B74-C5C730AFD73D}" type="presParOf" srcId="{90AA2D45-5E62-4D5A-AB0E-D54586C753A9}" destId="{042AAFB4-B90F-413D-B0F0-9CE9A6A99947}" srcOrd="0" destOrd="0" presId="urn:microsoft.com/office/officeart/2005/8/layout/orgChart1"/>
    <dgm:cxn modelId="{5D46BD23-D40A-4492-8A82-DE0D0EA8CBB3}" type="presParOf" srcId="{90AA2D45-5E62-4D5A-AB0E-D54586C753A9}" destId="{A128F4F8-AA1D-4E56-B962-B47AAE6071B7}" srcOrd="1" destOrd="0" presId="urn:microsoft.com/office/officeart/2005/8/layout/orgChart1"/>
    <dgm:cxn modelId="{B6C25318-EE27-4EAB-9F49-0C0CA0EE9019}" type="presParOf" srcId="{A128F4F8-AA1D-4E56-B962-B47AAE6071B7}" destId="{7ADD26DA-AC28-4EF2-B2FE-E3F874A3B892}" srcOrd="0" destOrd="0" presId="urn:microsoft.com/office/officeart/2005/8/layout/orgChart1"/>
    <dgm:cxn modelId="{C638F02D-DB43-46E2-A8F2-12DEA8A35881}" type="presParOf" srcId="{7ADD26DA-AC28-4EF2-B2FE-E3F874A3B892}" destId="{6A9EBC94-2B67-4B09-A686-C83A9D3F2421}" srcOrd="0" destOrd="0" presId="urn:microsoft.com/office/officeart/2005/8/layout/orgChart1"/>
    <dgm:cxn modelId="{AF163015-1D10-4936-8229-90246F7BC6C5}" type="presParOf" srcId="{7ADD26DA-AC28-4EF2-B2FE-E3F874A3B892}" destId="{77F474D9-03A4-4E22-9974-2DD4938D8723}" srcOrd="1" destOrd="0" presId="urn:microsoft.com/office/officeart/2005/8/layout/orgChart1"/>
    <dgm:cxn modelId="{DD949EC4-FC84-4285-A61D-246ABB9A3F21}" type="presParOf" srcId="{A128F4F8-AA1D-4E56-B962-B47AAE6071B7}" destId="{C1A73828-B0EC-4E95-AAE9-A780324E6BCA}" srcOrd="1" destOrd="0" presId="urn:microsoft.com/office/officeart/2005/8/layout/orgChart1"/>
    <dgm:cxn modelId="{C843918B-B3B7-4759-BC99-F5C721664CC3}" type="presParOf" srcId="{A128F4F8-AA1D-4E56-B962-B47AAE6071B7}" destId="{90C6F78C-169C-4D57-83A9-0287AEC245C1}" srcOrd="2" destOrd="0" presId="urn:microsoft.com/office/officeart/2005/8/layout/orgChart1"/>
    <dgm:cxn modelId="{EADDBC4C-C08B-4C1F-9F6C-248F435502A5}" type="presParOf" srcId="{90AA2D45-5E62-4D5A-AB0E-D54586C753A9}" destId="{055A0BCB-106E-4B7D-B161-443EBCB670D0}" srcOrd="2" destOrd="0" presId="urn:microsoft.com/office/officeart/2005/8/layout/orgChart1"/>
    <dgm:cxn modelId="{355D4C1D-6371-4482-A632-A97704D3065B}" type="presParOf" srcId="{90AA2D45-5E62-4D5A-AB0E-D54586C753A9}" destId="{5A1A72D4-1C20-4C6E-8E26-F682136C226A}" srcOrd="3" destOrd="0" presId="urn:microsoft.com/office/officeart/2005/8/layout/orgChart1"/>
    <dgm:cxn modelId="{88BA8E4C-3B49-4735-8F8F-9DBCA1E72D6D}" type="presParOf" srcId="{5A1A72D4-1C20-4C6E-8E26-F682136C226A}" destId="{0F59DB51-6F83-4D7C-9FF3-6830AFF67044}" srcOrd="0" destOrd="0" presId="urn:microsoft.com/office/officeart/2005/8/layout/orgChart1"/>
    <dgm:cxn modelId="{B70DAB27-F38D-481A-81CF-FA7B3E9AE672}" type="presParOf" srcId="{0F59DB51-6F83-4D7C-9FF3-6830AFF67044}" destId="{75A05023-817C-4E28-B94A-B10647AFBF56}" srcOrd="0" destOrd="0" presId="urn:microsoft.com/office/officeart/2005/8/layout/orgChart1"/>
    <dgm:cxn modelId="{83FF31D0-B0E3-4B12-B6EC-09D1A46FB1F3}" type="presParOf" srcId="{0F59DB51-6F83-4D7C-9FF3-6830AFF67044}" destId="{48F7CB1C-F176-4A11-A56E-CC0530DAE3AF}" srcOrd="1" destOrd="0" presId="urn:microsoft.com/office/officeart/2005/8/layout/orgChart1"/>
    <dgm:cxn modelId="{1E29F292-6CFB-47DC-B5BC-7078C0188908}" type="presParOf" srcId="{5A1A72D4-1C20-4C6E-8E26-F682136C226A}" destId="{B9F1F5A5-8C65-489F-91A4-E255BEAADBB3}" srcOrd="1" destOrd="0" presId="urn:microsoft.com/office/officeart/2005/8/layout/orgChart1"/>
    <dgm:cxn modelId="{621EA1FF-A296-4760-80DD-60051ED65DFB}" type="presParOf" srcId="{5A1A72D4-1C20-4C6E-8E26-F682136C226A}" destId="{1BA8F3DC-4ACE-46A1-B19D-314502C1D3B0}" srcOrd="2" destOrd="0" presId="urn:microsoft.com/office/officeart/2005/8/layout/orgChart1"/>
    <dgm:cxn modelId="{3504280D-8F00-4D64-A59A-20835AD50118}" type="presParOf" srcId="{6F9580FF-F85B-4F39-87B3-F9E8709BFD7E}" destId="{DDC84EAF-B656-46E9-B700-5A0171A14BAE}" srcOrd="2" destOrd="0" presId="urn:microsoft.com/office/officeart/2005/8/layout/orgChart1"/>
    <dgm:cxn modelId="{5BA1DB4B-A009-42E3-AA56-7082E18E4892}" type="presParOf" srcId="{8B56EFFA-626F-4F67-A30D-3AB3254FC969}" destId="{7582EEA1-9955-4A1C-BDFE-BF91CEAAE9A5}" srcOrd="2" destOrd="0" presId="urn:microsoft.com/office/officeart/2005/8/layout/orgChart1"/>
    <dgm:cxn modelId="{4AFA56F0-2E53-4746-A61C-8A1842D38A2A}" type="presParOf" srcId="{2EB9BE4B-2F25-4C2E-9A88-FE583B001080}" destId="{8B2587EE-D240-4709-B91E-D3F7BAE56ACC}" srcOrd="2" destOrd="0" presId="urn:microsoft.com/office/officeart/2005/8/layout/orgChart1"/>
    <dgm:cxn modelId="{8BB155E4-CA68-4A9D-A537-F193903F6DB9}" type="presParOf" srcId="{E42ECFA3-13BD-4B2C-A1FF-C251862CA921}" destId="{4B0A3328-F54D-4491-B4E3-739C099407C3}"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D5E0A7C-DCAB-45D4-A607-24D56C781A56}"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IN"/>
        </a:p>
      </dgm:t>
    </dgm:pt>
    <dgm:pt modelId="{2508F9FF-8A89-4539-982A-BD54AFF92B10}">
      <dgm:prSet phldrT="[Text]"/>
      <dgm:spPr>
        <a:solidFill>
          <a:schemeClr val="accent6"/>
        </a:solidFill>
      </dgm:spPr>
      <dgm:t>
        <a:bodyPr/>
        <a:lstStyle/>
        <a:p>
          <a:r>
            <a:rPr lang="en-US" b="1" dirty="0"/>
            <a:t> State License for Manufacturing Healthcare Products 2018</a:t>
          </a:r>
          <a:endParaRPr lang="en-IN" b="1" dirty="0"/>
        </a:p>
      </dgm:t>
    </dgm:pt>
    <dgm:pt modelId="{EC01F487-90E6-4660-979A-D279D22C10BD}" type="parTrans" cxnId="{A60E6B6A-7C77-4270-8D5F-66CE3685C4EB}">
      <dgm:prSet/>
      <dgm:spPr/>
      <dgm:t>
        <a:bodyPr/>
        <a:lstStyle/>
        <a:p>
          <a:endParaRPr lang="en-IN"/>
        </a:p>
      </dgm:t>
    </dgm:pt>
    <dgm:pt modelId="{0034AC04-C53F-4645-BC77-29726EA93DB6}" type="sibTrans" cxnId="{A60E6B6A-7C77-4270-8D5F-66CE3685C4EB}">
      <dgm:prSet/>
      <dgm:spPr/>
      <dgm:t>
        <a:bodyPr/>
        <a:lstStyle/>
        <a:p>
          <a:endParaRPr lang="en-IN"/>
        </a:p>
      </dgm:t>
    </dgm:pt>
    <dgm:pt modelId="{39A7B906-DDA4-419A-BB1F-119FA1F6AFF7}">
      <dgm:prSet phldrT="[Text]"/>
      <dgm:spPr>
        <a:solidFill>
          <a:schemeClr val="accent6"/>
        </a:solidFill>
      </dgm:spPr>
      <dgm:t>
        <a:bodyPr/>
        <a:lstStyle/>
        <a:p>
          <a:r>
            <a:rPr lang="en-US" dirty="0"/>
            <a:t>Renewal 2023  April valid up to April 2028</a:t>
          </a:r>
          <a:endParaRPr lang="en-IN" dirty="0"/>
        </a:p>
      </dgm:t>
    </dgm:pt>
    <dgm:pt modelId="{0F5D5891-B7D7-498D-BAFB-7FEA4654FFE8}" type="parTrans" cxnId="{A499C11E-7521-4F9B-B8EB-1102400C009E}">
      <dgm:prSet/>
      <dgm:spPr/>
      <dgm:t>
        <a:bodyPr/>
        <a:lstStyle/>
        <a:p>
          <a:endParaRPr lang="en-IN"/>
        </a:p>
      </dgm:t>
    </dgm:pt>
    <dgm:pt modelId="{216DAB6C-8370-4284-831A-E4D59DE8B692}" type="sibTrans" cxnId="{A499C11E-7521-4F9B-B8EB-1102400C009E}">
      <dgm:prSet/>
      <dgm:spPr/>
      <dgm:t>
        <a:bodyPr/>
        <a:lstStyle/>
        <a:p>
          <a:endParaRPr lang="en-IN"/>
        </a:p>
      </dgm:t>
    </dgm:pt>
    <dgm:pt modelId="{28215F80-8325-49A4-BEDB-5A646EB41AFE}">
      <dgm:prSet phldrT="[Text]"/>
      <dgm:spPr>
        <a:solidFill>
          <a:schemeClr val="accent1">
            <a:lumMod val="75000"/>
          </a:schemeClr>
        </a:solidFill>
      </dgm:spPr>
      <dgm:t>
        <a:bodyPr/>
        <a:lstStyle/>
        <a:p>
          <a:r>
            <a:rPr lang="en-US" b="1" dirty="0"/>
            <a:t> Central WHO certification </a:t>
          </a:r>
          <a:r>
            <a:rPr lang="en-IN" b="1" dirty="0"/>
            <a:t>GMP :- 2020</a:t>
          </a:r>
        </a:p>
      </dgm:t>
    </dgm:pt>
    <dgm:pt modelId="{E17206B5-0BD9-48F9-A6A5-9B9FC5793D63}" type="parTrans" cxnId="{14E5D029-8F1F-450C-923F-AA44EB7B42E5}">
      <dgm:prSet/>
      <dgm:spPr/>
      <dgm:t>
        <a:bodyPr/>
        <a:lstStyle/>
        <a:p>
          <a:endParaRPr lang="en-IN"/>
        </a:p>
      </dgm:t>
    </dgm:pt>
    <dgm:pt modelId="{A4F5E8F5-B545-474D-A36A-636B09669A13}" type="sibTrans" cxnId="{14E5D029-8F1F-450C-923F-AA44EB7B42E5}">
      <dgm:prSet/>
      <dgm:spPr/>
      <dgm:t>
        <a:bodyPr/>
        <a:lstStyle/>
        <a:p>
          <a:endParaRPr lang="en-IN"/>
        </a:p>
      </dgm:t>
    </dgm:pt>
    <dgm:pt modelId="{440C829A-36EB-409B-878C-1C4A4B3375B3}">
      <dgm:prSet phldrT="[Text]"/>
      <dgm:spPr/>
      <dgm:t>
        <a:bodyPr/>
        <a:lstStyle/>
        <a:p>
          <a:r>
            <a:rPr lang="en-IN" dirty="0"/>
            <a:t>ISO 9001:2015                  IRQS/210100486                           Valid 23/03/2024</a:t>
          </a:r>
        </a:p>
      </dgm:t>
    </dgm:pt>
    <dgm:pt modelId="{D00396E7-7C5A-46D0-A145-7A6BE94C0178}" type="parTrans" cxnId="{D0E0CA31-ECFC-4ADD-A037-43B11322EEF4}">
      <dgm:prSet/>
      <dgm:spPr/>
      <dgm:t>
        <a:bodyPr/>
        <a:lstStyle/>
        <a:p>
          <a:endParaRPr lang="en-IN"/>
        </a:p>
      </dgm:t>
    </dgm:pt>
    <dgm:pt modelId="{E5CCF36B-7060-41BF-B97F-4173484DB131}" type="sibTrans" cxnId="{D0E0CA31-ECFC-4ADD-A037-43B11322EEF4}">
      <dgm:prSet/>
      <dgm:spPr/>
      <dgm:t>
        <a:bodyPr/>
        <a:lstStyle/>
        <a:p>
          <a:endParaRPr lang="en-IN"/>
        </a:p>
      </dgm:t>
    </dgm:pt>
    <dgm:pt modelId="{6CB0145D-5A20-49A9-AC9D-2806BDBD5FDE}">
      <dgm:prSet phldrT="[Text]"/>
      <dgm:spPr/>
      <dgm:t>
        <a:bodyPr/>
        <a:lstStyle/>
        <a:p>
          <a:r>
            <a:rPr lang="en-IN" dirty="0"/>
            <a:t>ISO 14001:2015                IRQS/210300487                           Valid 23/03/2024</a:t>
          </a:r>
        </a:p>
      </dgm:t>
    </dgm:pt>
    <dgm:pt modelId="{960B8B98-2200-42DD-8C33-30C195A01895}" type="parTrans" cxnId="{719A21C9-4CBC-4AA6-AB0E-75A31AAB8B48}">
      <dgm:prSet/>
      <dgm:spPr/>
      <dgm:t>
        <a:bodyPr/>
        <a:lstStyle/>
        <a:p>
          <a:endParaRPr lang="en-IN"/>
        </a:p>
      </dgm:t>
    </dgm:pt>
    <dgm:pt modelId="{2CCAE467-3103-4F6F-9D27-5797B6AA34B0}" type="sibTrans" cxnId="{719A21C9-4CBC-4AA6-AB0E-75A31AAB8B48}">
      <dgm:prSet/>
      <dgm:spPr/>
      <dgm:t>
        <a:bodyPr/>
        <a:lstStyle/>
        <a:p>
          <a:endParaRPr lang="en-IN"/>
        </a:p>
      </dgm:t>
    </dgm:pt>
    <dgm:pt modelId="{3A6ED494-9263-405C-9F88-1A6B28821A17}">
      <dgm:prSet phldrT="[Text]"/>
      <dgm:spPr/>
      <dgm:t>
        <a:bodyPr/>
        <a:lstStyle/>
        <a:p>
          <a:r>
            <a:rPr lang="en-IN" dirty="0"/>
            <a:t>ISO-45001:2018                IRQS/210400488                           Valid 23/03/2024</a:t>
          </a:r>
        </a:p>
      </dgm:t>
    </dgm:pt>
    <dgm:pt modelId="{D00A567F-E857-48E6-AB35-1E0DEE66332C}" type="parTrans" cxnId="{FE34C3C3-D2F8-4D65-9CD9-367675A2F6E8}">
      <dgm:prSet/>
      <dgm:spPr/>
      <dgm:t>
        <a:bodyPr/>
        <a:lstStyle/>
        <a:p>
          <a:endParaRPr lang="en-IN"/>
        </a:p>
      </dgm:t>
    </dgm:pt>
    <dgm:pt modelId="{806A0457-4891-4E73-AC22-5C621B09C95D}" type="sibTrans" cxnId="{FE34C3C3-D2F8-4D65-9CD9-367675A2F6E8}">
      <dgm:prSet/>
      <dgm:spPr/>
      <dgm:t>
        <a:bodyPr/>
        <a:lstStyle/>
        <a:p>
          <a:endParaRPr lang="en-IN"/>
        </a:p>
      </dgm:t>
    </dgm:pt>
    <dgm:pt modelId="{CD102966-47F1-4127-B644-79E36971BF14}">
      <dgm:prSet phldrT="[Text]"/>
      <dgm:spPr>
        <a:solidFill>
          <a:schemeClr val="accent6"/>
        </a:solidFill>
      </dgm:spPr>
      <dgm:t>
        <a:bodyPr/>
        <a:lstStyle/>
        <a:p>
          <a:r>
            <a:rPr lang="en-US" dirty="0"/>
            <a:t>Validity 5 Years </a:t>
          </a:r>
          <a:endParaRPr lang="en-IN" dirty="0"/>
        </a:p>
      </dgm:t>
    </dgm:pt>
    <dgm:pt modelId="{17CBC914-EFC0-40A1-9589-B2AC4575D7B6}" type="parTrans" cxnId="{2E713B64-E949-4D54-90ED-4671AB29C904}">
      <dgm:prSet/>
      <dgm:spPr/>
      <dgm:t>
        <a:bodyPr/>
        <a:lstStyle/>
        <a:p>
          <a:endParaRPr lang="en-IN"/>
        </a:p>
      </dgm:t>
    </dgm:pt>
    <dgm:pt modelId="{B96AC786-5B80-4F09-8D23-386AC2D210E1}" type="sibTrans" cxnId="{2E713B64-E949-4D54-90ED-4671AB29C904}">
      <dgm:prSet/>
      <dgm:spPr/>
      <dgm:t>
        <a:bodyPr/>
        <a:lstStyle/>
        <a:p>
          <a:endParaRPr lang="en-IN"/>
        </a:p>
      </dgm:t>
    </dgm:pt>
    <dgm:pt modelId="{68B98A49-1718-4F00-BE7B-1C7973523293}">
      <dgm:prSet phldrT="[Text]"/>
      <dgm:spPr/>
      <dgm:t>
        <a:bodyPr/>
        <a:lstStyle/>
        <a:p>
          <a:r>
            <a:rPr lang="en-IN" dirty="0"/>
            <a:t>Manufacturing of Speciality Chemicals, Agro Actives, APIs, &amp; Advanced Intermediates for Pharma &amp; Agro</a:t>
          </a:r>
        </a:p>
      </dgm:t>
    </dgm:pt>
    <dgm:pt modelId="{3117742A-97D5-41E6-9E22-47A467CC9495}" type="parTrans" cxnId="{5811F601-11C9-400C-A579-346212C07BFD}">
      <dgm:prSet/>
      <dgm:spPr/>
      <dgm:t>
        <a:bodyPr/>
        <a:lstStyle/>
        <a:p>
          <a:endParaRPr lang="en-IN"/>
        </a:p>
      </dgm:t>
    </dgm:pt>
    <dgm:pt modelId="{64452248-D690-4A46-939F-53747A4AEB54}" type="sibTrans" cxnId="{5811F601-11C9-400C-A579-346212C07BFD}">
      <dgm:prSet/>
      <dgm:spPr/>
      <dgm:t>
        <a:bodyPr/>
        <a:lstStyle/>
        <a:p>
          <a:endParaRPr lang="en-IN"/>
        </a:p>
      </dgm:t>
    </dgm:pt>
    <dgm:pt modelId="{E894996A-D514-46FA-9319-59B536804977}">
      <dgm:prSet phldrT="[Text]"/>
      <dgm:spPr>
        <a:solidFill>
          <a:schemeClr val="accent6"/>
        </a:solidFill>
      </dgm:spPr>
      <dgm:t>
        <a:bodyPr/>
        <a:lstStyle/>
        <a:p>
          <a:r>
            <a:rPr lang="en-IN" dirty="0"/>
            <a:t>LICENSE No : 25-MH/102571</a:t>
          </a:r>
        </a:p>
      </dgm:t>
    </dgm:pt>
    <dgm:pt modelId="{E0DDD7A8-8741-4DA0-B5C7-E63EDF6BD1CF}" type="parTrans" cxnId="{0D563314-CA65-48E4-B428-0AD6B46F36BE}">
      <dgm:prSet/>
      <dgm:spPr/>
      <dgm:t>
        <a:bodyPr/>
        <a:lstStyle/>
        <a:p>
          <a:endParaRPr lang="en-IN"/>
        </a:p>
      </dgm:t>
    </dgm:pt>
    <dgm:pt modelId="{33EA3638-B143-4695-91A8-1B3792D81C53}" type="sibTrans" cxnId="{0D563314-CA65-48E4-B428-0AD6B46F36BE}">
      <dgm:prSet/>
      <dgm:spPr/>
      <dgm:t>
        <a:bodyPr/>
        <a:lstStyle/>
        <a:p>
          <a:endParaRPr lang="en-IN"/>
        </a:p>
      </dgm:t>
    </dgm:pt>
    <dgm:pt modelId="{FCC00DA0-8418-43B3-A5FE-E00304067D8D}">
      <dgm:prSet phldrT="[Text]" custT="1"/>
      <dgm:spPr>
        <a:solidFill>
          <a:srgbClr val="F57E1B"/>
        </a:solidFill>
      </dgm:spPr>
      <dgm:t>
        <a:bodyPr/>
        <a:lstStyle/>
        <a:p>
          <a:r>
            <a:rPr lang="en-US" sz="1300" b="1" dirty="0"/>
            <a:t> State FDA approval 2019</a:t>
          </a:r>
          <a:endParaRPr lang="en-IN" sz="1300" b="1" dirty="0"/>
        </a:p>
      </dgm:t>
    </dgm:pt>
    <dgm:pt modelId="{1753C1BE-3181-4180-98ED-027C80EC4115}" type="sibTrans" cxnId="{25CD96D6-55C2-4EBC-9130-38109E492CAF}">
      <dgm:prSet/>
      <dgm:spPr/>
      <dgm:t>
        <a:bodyPr/>
        <a:lstStyle/>
        <a:p>
          <a:endParaRPr lang="en-IN"/>
        </a:p>
      </dgm:t>
    </dgm:pt>
    <dgm:pt modelId="{1DCB5C8E-872A-4254-A071-A88573E1E6CE}" type="parTrans" cxnId="{25CD96D6-55C2-4EBC-9130-38109E492CAF}">
      <dgm:prSet/>
      <dgm:spPr/>
      <dgm:t>
        <a:bodyPr/>
        <a:lstStyle/>
        <a:p>
          <a:endParaRPr lang="en-IN"/>
        </a:p>
      </dgm:t>
    </dgm:pt>
    <dgm:pt modelId="{9E4C102B-A3D7-486E-95D1-B349C1FF136C}">
      <dgm:prSet phldrT="[Text]"/>
      <dgm:spPr>
        <a:solidFill>
          <a:srgbClr val="F57E1B"/>
        </a:solidFill>
      </dgm:spPr>
      <dgm:t>
        <a:bodyPr/>
        <a:lstStyle/>
        <a:p>
          <a:r>
            <a:rPr lang="en-US" sz="1000" dirty="0"/>
            <a:t>Certificate number 6116113 </a:t>
          </a:r>
          <a:endParaRPr lang="en-IN" sz="1000" dirty="0"/>
        </a:p>
      </dgm:t>
    </dgm:pt>
    <dgm:pt modelId="{0AA98482-14A7-41FC-A76A-678D972EFB42}" type="sibTrans" cxnId="{FF74096D-05C7-4A8C-B21E-D252BE6CB5A7}">
      <dgm:prSet/>
      <dgm:spPr/>
      <dgm:t>
        <a:bodyPr/>
        <a:lstStyle/>
        <a:p>
          <a:endParaRPr lang="en-IN"/>
        </a:p>
      </dgm:t>
    </dgm:pt>
    <dgm:pt modelId="{AA6993D1-E486-464B-A421-5A68B4D062A2}" type="parTrans" cxnId="{FF74096D-05C7-4A8C-B21E-D252BE6CB5A7}">
      <dgm:prSet/>
      <dgm:spPr/>
      <dgm:t>
        <a:bodyPr/>
        <a:lstStyle/>
        <a:p>
          <a:endParaRPr lang="en-IN"/>
        </a:p>
      </dgm:t>
    </dgm:pt>
    <dgm:pt modelId="{4275F038-4D18-4665-9417-B17A2F6820DB}">
      <dgm:prSet phldrT="[Text]"/>
      <dgm:spPr>
        <a:solidFill>
          <a:srgbClr val="F57E1B"/>
        </a:solidFill>
      </dgm:spPr>
      <dgm:t>
        <a:bodyPr/>
        <a:lstStyle/>
        <a:p>
          <a:r>
            <a:rPr lang="en-US" sz="1000" dirty="0"/>
            <a:t>Validity Yearly</a:t>
          </a:r>
          <a:endParaRPr lang="en-IN" sz="1000" dirty="0"/>
        </a:p>
      </dgm:t>
    </dgm:pt>
    <dgm:pt modelId="{DBEF606F-0CAF-470A-A02E-0FBD56245AA7}" type="sibTrans" cxnId="{B08B0685-2185-4601-A0C9-5E019F9E6BA8}">
      <dgm:prSet/>
      <dgm:spPr/>
      <dgm:t>
        <a:bodyPr/>
        <a:lstStyle/>
        <a:p>
          <a:endParaRPr lang="en-IN"/>
        </a:p>
      </dgm:t>
    </dgm:pt>
    <dgm:pt modelId="{528DD872-358B-4AB9-A1CB-43702C8B6DCA}" type="parTrans" cxnId="{B08B0685-2185-4601-A0C9-5E019F9E6BA8}">
      <dgm:prSet/>
      <dgm:spPr/>
      <dgm:t>
        <a:bodyPr/>
        <a:lstStyle/>
        <a:p>
          <a:endParaRPr lang="en-IN"/>
        </a:p>
      </dgm:t>
    </dgm:pt>
    <dgm:pt modelId="{832B9F7F-5A9C-47FF-B748-D4C9ED0901CF}">
      <dgm:prSet phldrT="[Text]"/>
      <dgm:spPr>
        <a:solidFill>
          <a:srgbClr val="F57E1B"/>
        </a:solidFill>
      </dgm:spPr>
      <dgm:t>
        <a:bodyPr/>
        <a:lstStyle/>
        <a:p>
          <a:r>
            <a:rPr lang="en-US" sz="1000" dirty="0"/>
            <a:t>Valid 5/11/2024</a:t>
          </a:r>
          <a:endParaRPr lang="en-IN" sz="1000" dirty="0"/>
        </a:p>
      </dgm:t>
    </dgm:pt>
    <dgm:pt modelId="{6FA127F4-59E0-4A21-AF9C-F655A45D1CC5}" type="sibTrans" cxnId="{4CBA05ED-A6FC-4C1A-A6B7-0ADA7D4AD212}">
      <dgm:prSet/>
      <dgm:spPr/>
      <dgm:t>
        <a:bodyPr/>
        <a:lstStyle/>
        <a:p>
          <a:endParaRPr lang="en-IN"/>
        </a:p>
      </dgm:t>
    </dgm:pt>
    <dgm:pt modelId="{536B5555-9852-477F-9EC8-72975DFA95DC}" type="parTrans" cxnId="{4CBA05ED-A6FC-4C1A-A6B7-0ADA7D4AD212}">
      <dgm:prSet/>
      <dgm:spPr/>
      <dgm:t>
        <a:bodyPr/>
        <a:lstStyle/>
        <a:p>
          <a:endParaRPr lang="en-IN"/>
        </a:p>
      </dgm:t>
    </dgm:pt>
    <dgm:pt modelId="{F3E91796-5BF1-4F07-9A19-85CE822B8ED7}">
      <dgm:prSet phldrT="[Text]"/>
      <dgm:spPr>
        <a:solidFill>
          <a:schemeClr val="accent1">
            <a:lumMod val="75000"/>
          </a:schemeClr>
        </a:solidFill>
      </dgm:spPr>
      <dgm:t>
        <a:bodyPr/>
        <a:lstStyle/>
        <a:p>
          <a:r>
            <a:rPr lang="en-IN" dirty="0"/>
            <a:t>Certificate No.: NEW-WHO-GMP/CERT/ND/126239/2023/11/46894</a:t>
          </a:r>
          <a:r>
            <a:rPr lang="en-US" dirty="0"/>
            <a:t> </a:t>
          </a:r>
          <a:endParaRPr lang="en-IN" dirty="0"/>
        </a:p>
      </dgm:t>
    </dgm:pt>
    <dgm:pt modelId="{756E1855-07F9-4354-9DC8-AF30EA328E9E}" type="parTrans" cxnId="{54210D27-3E83-4E4C-AF9A-8F0EB3CC78F1}">
      <dgm:prSet/>
      <dgm:spPr/>
      <dgm:t>
        <a:bodyPr/>
        <a:lstStyle/>
        <a:p>
          <a:endParaRPr lang="en-US"/>
        </a:p>
      </dgm:t>
    </dgm:pt>
    <dgm:pt modelId="{7D5333B7-E49F-43F9-9C94-ABCCB6C2FDE3}" type="sibTrans" cxnId="{54210D27-3E83-4E4C-AF9A-8F0EB3CC78F1}">
      <dgm:prSet/>
      <dgm:spPr/>
      <dgm:t>
        <a:bodyPr/>
        <a:lstStyle/>
        <a:p>
          <a:endParaRPr lang="en-US"/>
        </a:p>
      </dgm:t>
    </dgm:pt>
    <dgm:pt modelId="{7C95AFF2-503F-4B27-8719-EA9355C73B91}">
      <dgm:prSet phldrT="[Text]"/>
      <dgm:spPr>
        <a:solidFill>
          <a:schemeClr val="accent1">
            <a:lumMod val="75000"/>
          </a:schemeClr>
        </a:solidFill>
      </dgm:spPr>
      <dgm:t>
        <a:bodyPr/>
        <a:lstStyle/>
        <a:p>
          <a:r>
            <a:rPr lang="en-US" dirty="0"/>
            <a:t>Validity 3 years 2020 </a:t>
          </a:r>
          <a:endParaRPr lang="en-IN" dirty="0"/>
        </a:p>
      </dgm:t>
    </dgm:pt>
    <dgm:pt modelId="{9858CBC6-B63D-445B-8B60-D64F9DE66D0A}" type="parTrans" cxnId="{75AE7BC4-DB0A-464F-B8D8-F016A12CC9AF}">
      <dgm:prSet/>
      <dgm:spPr/>
      <dgm:t>
        <a:bodyPr/>
        <a:lstStyle/>
        <a:p>
          <a:endParaRPr lang="en-US"/>
        </a:p>
      </dgm:t>
    </dgm:pt>
    <dgm:pt modelId="{738E1B02-F302-40CE-A618-A52C253614C6}" type="sibTrans" cxnId="{75AE7BC4-DB0A-464F-B8D8-F016A12CC9AF}">
      <dgm:prSet/>
      <dgm:spPr/>
      <dgm:t>
        <a:bodyPr/>
        <a:lstStyle/>
        <a:p>
          <a:endParaRPr lang="en-US"/>
        </a:p>
      </dgm:t>
    </dgm:pt>
    <dgm:pt modelId="{8381E8ED-B8E0-4CBE-9FBC-8568923DE184}">
      <dgm:prSet phldrT="[Text]"/>
      <dgm:spPr>
        <a:solidFill>
          <a:schemeClr val="accent1">
            <a:lumMod val="75000"/>
          </a:schemeClr>
        </a:solidFill>
      </dgm:spPr>
      <dgm:t>
        <a:bodyPr/>
        <a:lstStyle/>
        <a:p>
          <a:r>
            <a:rPr lang="en-US" dirty="0"/>
            <a:t> Renewal  June 2023   Valid Aug 2026 </a:t>
          </a:r>
          <a:endParaRPr lang="en-IN" dirty="0"/>
        </a:p>
      </dgm:t>
    </dgm:pt>
    <dgm:pt modelId="{1A9A3C2D-9416-4F76-A5CF-6D0C01501A3E}" type="parTrans" cxnId="{4DDF5E5F-ABA8-4EEF-AE3C-3FE864842B04}">
      <dgm:prSet/>
      <dgm:spPr/>
      <dgm:t>
        <a:bodyPr/>
        <a:lstStyle/>
        <a:p>
          <a:endParaRPr lang="en-US"/>
        </a:p>
      </dgm:t>
    </dgm:pt>
    <dgm:pt modelId="{48976B9C-A363-4B00-94BB-354782AC0CFE}" type="sibTrans" cxnId="{4DDF5E5F-ABA8-4EEF-AE3C-3FE864842B04}">
      <dgm:prSet/>
      <dgm:spPr/>
      <dgm:t>
        <a:bodyPr/>
        <a:lstStyle/>
        <a:p>
          <a:endParaRPr lang="en-US"/>
        </a:p>
      </dgm:t>
    </dgm:pt>
    <dgm:pt modelId="{77F34561-3E48-41A0-BC17-91C1C0D41402}">
      <dgm:prSet phldrT="[Text]"/>
      <dgm:spPr>
        <a:solidFill>
          <a:schemeClr val="accent1">
            <a:lumMod val="75000"/>
          </a:schemeClr>
        </a:solidFill>
      </dgm:spPr>
      <dgm:t>
        <a:bodyPr/>
        <a:lstStyle/>
        <a:p>
          <a:r>
            <a:rPr lang="en-IN" dirty="0"/>
            <a:t> Dosage Form(s) Active Pharmaceutical Ingredients (Bulk Drugs)</a:t>
          </a:r>
        </a:p>
      </dgm:t>
    </dgm:pt>
    <dgm:pt modelId="{3AE6C7C7-0F27-44B2-BE58-C00C81D983F0}" type="parTrans" cxnId="{A44B41E3-E7AE-416F-AB76-48BE5C143BF4}">
      <dgm:prSet/>
      <dgm:spPr/>
      <dgm:t>
        <a:bodyPr/>
        <a:lstStyle/>
        <a:p>
          <a:endParaRPr lang="en-US"/>
        </a:p>
      </dgm:t>
    </dgm:pt>
    <dgm:pt modelId="{7182A7D3-73E6-431C-AEE8-5D76E7FC84A4}" type="sibTrans" cxnId="{A44B41E3-E7AE-416F-AB76-48BE5C143BF4}">
      <dgm:prSet/>
      <dgm:spPr/>
      <dgm:t>
        <a:bodyPr/>
        <a:lstStyle/>
        <a:p>
          <a:endParaRPr lang="en-US"/>
        </a:p>
      </dgm:t>
    </dgm:pt>
    <dgm:pt modelId="{732A8BB5-30B9-48BD-BEA5-5ED24DA60CFB}">
      <dgm:prSet phldrT="[Text]"/>
      <dgm:spPr>
        <a:solidFill>
          <a:schemeClr val="accent1">
            <a:lumMod val="75000"/>
          </a:schemeClr>
        </a:solidFill>
      </dgm:spPr>
      <dgm:t>
        <a:bodyPr/>
        <a:lstStyle/>
        <a:p>
          <a:r>
            <a:rPr lang="en-IN" dirty="0"/>
            <a:t>Activity(</a:t>
          </a:r>
          <a:r>
            <a:rPr lang="en-IN" dirty="0" err="1"/>
            <a:t>ies</a:t>
          </a:r>
          <a:r>
            <a:rPr lang="en-IN" dirty="0"/>
            <a:t>) Synthesis, Purification, Packing, Labelling, Quality Control, Quality Assurance</a:t>
          </a:r>
        </a:p>
      </dgm:t>
    </dgm:pt>
    <dgm:pt modelId="{4271F6C1-D448-4462-B4A2-B72C1CC3BD6D}" type="parTrans" cxnId="{808541DF-39AE-483C-8E4D-D3950B80A2E7}">
      <dgm:prSet/>
      <dgm:spPr/>
      <dgm:t>
        <a:bodyPr/>
        <a:lstStyle/>
        <a:p>
          <a:endParaRPr lang="en-US"/>
        </a:p>
      </dgm:t>
    </dgm:pt>
    <dgm:pt modelId="{F8015763-1079-4DF7-81B4-C19EB5B8CC72}" type="sibTrans" cxnId="{808541DF-39AE-483C-8E4D-D3950B80A2E7}">
      <dgm:prSet/>
      <dgm:spPr/>
      <dgm:t>
        <a:bodyPr/>
        <a:lstStyle/>
        <a:p>
          <a:endParaRPr lang="en-US"/>
        </a:p>
      </dgm:t>
    </dgm:pt>
    <dgm:pt modelId="{A37C1927-DB26-4537-A0AB-8FA8AA55E3E5}">
      <dgm:prSet phldrT="[Text]"/>
      <dgm:spPr/>
      <dgm:t>
        <a:bodyPr/>
        <a:lstStyle/>
        <a:p>
          <a:r>
            <a:rPr lang="en-US" b="1"/>
            <a:t>Integrated </a:t>
          </a:r>
          <a:r>
            <a:rPr lang="en-US" b="1" dirty="0"/>
            <a:t>ISO Certification 2012</a:t>
          </a:r>
          <a:endParaRPr lang="en-IN" b="1" dirty="0"/>
        </a:p>
      </dgm:t>
    </dgm:pt>
    <dgm:pt modelId="{C7BB3171-FF4B-4B5E-BA4C-3C4CBDB76E8E}" type="parTrans" cxnId="{FFF30375-FFF8-42B5-BEDF-8CBA4F62294B}">
      <dgm:prSet/>
      <dgm:spPr/>
      <dgm:t>
        <a:bodyPr/>
        <a:lstStyle/>
        <a:p>
          <a:endParaRPr lang="en-US"/>
        </a:p>
      </dgm:t>
    </dgm:pt>
    <dgm:pt modelId="{6D3B62C7-AAE2-4733-B8C8-FED0ED8353D6}" type="sibTrans" cxnId="{FFF30375-FFF8-42B5-BEDF-8CBA4F62294B}">
      <dgm:prSet/>
      <dgm:spPr/>
      <dgm:t>
        <a:bodyPr/>
        <a:lstStyle/>
        <a:p>
          <a:endParaRPr lang="en-US"/>
        </a:p>
      </dgm:t>
    </dgm:pt>
    <dgm:pt modelId="{D396B2B7-4103-4DA8-9303-527BC14868D8}" type="pres">
      <dgm:prSet presAssocID="{AD5E0A7C-DCAB-45D4-A607-24D56C781A56}" presName="linear" presStyleCnt="0">
        <dgm:presLayoutVars>
          <dgm:dir/>
          <dgm:resizeHandles val="exact"/>
        </dgm:presLayoutVars>
      </dgm:prSet>
      <dgm:spPr/>
    </dgm:pt>
    <dgm:pt modelId="{81032A07-F446-43F1-81A3-53DE29926BDB}" type="pres">
      <dgm:prSet presAssocID="{28215F80-8325-49A4-BEDB-5A646EB41AFE}" presName="comp" presStyleCnt="0"/>
      <dgm:spPr/>
    </dgm:pt>
    <dgm:pt modelId="{CEB324B9-37AA-4067-B856-D2E0F361529C}" type="pres">
      <dgm:prSet presAssocID="{28215F80-8325-49A4-BEDB-5A646EB41AFE}" presName="box" presStyleLbl="node1" presStyleIdx="0" presStyleCnt="4"/>
      <dgm:spPr/>
    </dgm:pt>
    <dgm:pt modelId="{6BAA568F-943E-4AF9-AE23-D8520A687871}" type="pres">
      <dgm:prSet presAssocID="{28215F80-8325-49A4-BEDB-5A646EB41AFE}" presName="img" presStyleLbl="fgImgPlace1" presStyleIdx="0" presStyleCnt="4"/>
      <dgm:spPr>
        <a:blipFill rotWithShape="1">
          <a:blip xmlns:r="http://schemas.openxmlformats.org/officeDocument/2006/relationships" r:embed="rId1"/>
          <a:srcRect/>
          <a:stretch>
            <a:fillRect t="-31000" b="-31000"/>
          </a:stretch>
        </a:blipFill>
      </dgm:spPr>
    </dgm:pt>
    <dgm:pt modelId="{8DFE3CC6-7CFB-42F0-82E5-9C207C1D58D6}" type="pres">
      <dgm:prSet presAssocID="{28215F80-8325-49A4-BEDB-5A646EB41AFE}" presName="text" presStyleLbl="node1" presStyleIdx="0" presStyleCnt="4">
        <dgm:presLayoutVars>
          <dgm:bulletEnabled val="1"/>
        </dgm:presLayoutVars>
      </dgm:prSet>
      <dgm:spPr/>
    </dgm:pt>
    <dgm:pt modelId="{0F6EA3DA-3217-4A17-8DBB-2637197107DE}" type="pres">
      <dgm:prSet presAssocID="{A4F5E8F5-B545-474D-A36A-636B09669A13}" presName="spacer" presStyleCnt="0"/>
      <dgm:spPr/>
    </dgm:pt>
    <dgm:pt modelId="{F4A965FC-1CEE-4753-A69F-1C592E74B80C}" type="pres">
      <dgm:prSet presAssocID="{A37C1927-DB26-4537-A0AB-8FA8AA55E3E5}" presName="comp" presStyleCnt="0"/>
      <dgm:spPr/>
    </dgm:pt>
    <dgm:pt modelId="{CB072B79-DBF1-4069-856D-FD045F092FE5}" type="pres">
      <dgm:prSet presAssocID="{A37C1927-DB26-4537-A0AB-8FA8AA55E3E5}" presName="box" presStyleLbl="node1" presStyleIdx="1" presStyleCnt="4"/>
      <dgm:spPr/>
    </dgm:pt>
    <dgm:pt modelId="{41E58631-ABAA-44F8-9D0A-CC7962D37EC7}" type="pres">
      <dgm:prSet presAssocID="{A37C1927-DB26-4537-A0AB-8FA8AA55E3E5}" presName="img" presStyleLbl="fgImgPlace1" presStyleIdx="1" presStyleCnt="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31000" b="-31000"/>
          </a:stretch>
        </a:blipFill>
      </dgm:spPr>
    </dgm:pt>
    <dgm:pt modelId="{AFC8A2C9-AC40-4CCD-8F0C-0D5113FDCD3C}" type="pres">
      <dgm:prSet presAssocID="{A37C1927-DB26-4537-A0AB-8FA8AA55E3E5}" presName="text" presStyleLbl="node1" presStyleIdx="1" presStyleCnt="4">
        <dgm:presLayoutVars>
          <dgm:bulletEnabled val="1"/>
        </dgm:presLayoutVars>
      </dgm:prSet>
      <dgm:spPr/>
    </dgm:pt>
    <dgm:pt modelId="{B3B3D299-1402-4F07-87EC-E81E84133CD7}" type="pres">
      <dgm:prSet presAssocID="{6D3B62C7-AAE2-4733-B8C8-FED0ED8353D6}" presName="spacer" presStyleCnt="0"/>
      <dgm:spPr/>
    </dgm:pt>
    <dgm:pt modelId="{ABEA85E0-0EAC-4070-B9C4-6B8BB71BA9C0}" type="pres">
      <dgm:prSet presAssocID="{2508F9FF-8A89-4539-982A-BD54AFF92B10}" presName="comp" presStyleCnt="0"/>
      <dgm:spPr/>
    </dgm:pt>
    <dgm:pt modelId="{F587A7B1-034F-44DE-BFCC-6E5127287A53}" type="pres">
      <dgm:prSet presAssocID="{2508F9FF-8A89-4539-982A-BD54AFF92B10}" presName="box" presStyleLbl="node1" presStyleIdx="2" presStyleCnt="4"/>
      <dgm:spPr/>
    </dgm:pt>
    <dgm:pt modelId="{5FD2938C-2487-45E8-B640-5436381129FF}" type="pres">
      <dgm:prSet presAssocID="{2508F9FF-8A89-4539-982A-BD54AFF92B10}" presName="img" presStyleLbl="fgImgPlace1" presStyleIdx="2" presStyleCnt="4"/>
      <dgm:spPr>
        <a:blipFill rotWithShape="1">
          <a:blip xmlns:r="http://schemas.openxmlformats.org/officeDocument/2006/relationships" r:embed="rId3"/>
          <a:srcRect/>
          <a:stretch>
            <a:fillRect t="-37000" b="-37000"/>
          </a:stretch>
        </a:blipFill>
      </dgm:spPr>
    </dgm:pt>
    <dgm:pt modelId="{F085AB38-D51A-4D94-A12D-67CE60F630F1}" type="pres">
      <dgm:prSet presAssocID="{2508F9FF-8A89-4539-982A-BD54AFF92B10}" presName="text" presStyleLbl="node1" presStyleIdx="2" presStyleCnt="4">
        <dgm:presLayoutVars>
          <dgm:bulletEnabled val="1"/>
        </dgm:presLayoutVars>
      </dgm:prSet>
      <dgm:spPr/>
    </dgm:pt>
    <dgm:pt modelId="{A29AECD7-2D80-4BE6-9F3D-ADF79CDACB5A}" type="pres">
      <dgm:prSet presAssocID="{0034AC04-C53F-4645-BC77-29726EA93DB6}" presName="spacer" presStyleCnt="0"/>
      <dgm:spPr/>
    </dgm:pt>
    <dgm:pt modelId="{7D1D4FC1-D7E1-4D65-AEF0-EF6A22D1A0F6}" type="pres">
      <dgm:prSet presAssocID="{FCC00DA0-8418-43B3-A5FE-E00304067D8D}" presName="comp" presStyleCnt="0"/>
      <dgm:spPr/>
    </dgm:pt>
    <dgm:pt modelId="{8395D97E-FA04-455D-8E3E-DD0E9F96DD88}" type="pres">
      <dgm:prSet presAssocID="{FCC00DA0-8418-43B3-A5FE-E00304067D8D}" presName="box" presStyleLbl="node1" presStyleIdx="3" presStyleCnt="4" custLinFactNeighborX="454"/>
      <dgm:spPr/>
    </dgm:pt>
    <dgm:pt modelId="{70009E8B-D260-4550-B06F-C6DD8486BCEC}" type="pres">
      <dgm:prSet presAssocID="{FCC00DA0-8418-43B3-A5FE-E00304067D8D}" presName="img" presStyleLbl="fgImgPlace1" presStyleIdx="3" presStyleCnt="4" custScaleY="83516" custLinFactNeighborX="-2321" custLinFactNeighborY="7466"/>
      <dgm:spPr>
        <a:blipFill rotWithShape="1">
          <a:blip xmlns:r="http://schemas.openxmlformats.org/officeDocument/2006/relationships" r:embed="rId3"/>
          <a:srcRect/>
          <a:stretch>
            <a:fillRect t="-55000" b="-55000"/>
          </a:stretch>
        </a:blipFill>
      </dgm:spPr>
    </dgm:pt>
    <dgm:pt modelId="{C53CDAD2-9252-4795-903F-1ABBCEA6B766}" type="pres">
      <dgm:prSet presAssocID="{FCC00DA0-8418-43B3-A5FE-E00304067D8D}" presName="text" presStyleLbl="node1" presStyleIdx="3" presStyleCnt="4">
        <dgm:presLayoutVars>
          <dgm:bulletEnabled val="1"/>
        </dgm:presLayoutVars>
      </dgm:prSet>
      <dgm:spPr/>
    </dgm:pt>
  </dgm:ptLst>
  <dgm:cxnLst>
    <dgm:cxn modelId="{5811F601-11C9-400C-A579-346212C07BFD}" srcId="{A37C1927-DB26-4537-A0AB-8FA8AA55E3E5}" destId="{68B98A49-1718-4F00-BE7B-1C7973523293}" srcOrd="0" destOrd="0" parTransId="{3117742A-97D5-41E6-9E22-47A467CC9495}" sibTransId="{64452248-D690-4A46-939F-53747A4AEB54}"/>
    <dgm:cxn modelId="{F500F210-2665-4370-BA5E-FB0B9350F5E2}" type="presOf" srcId="{2508F9FF-8A89-4539-982A-BD54AFF92B10}" destId="{F587A7B1-034F-44DE-BFCC-6E5127287A53}" srcOrd="0" destOrd="0" presId="urn:microsoft.com/office/officeart/2005/8/layout/vList4"/>
    <dgm:cxn modelId="{0D563314-CA65-48E4-B428-0AD6B46F36BE}" srcId="{2508F9FF-8A89-4539-982A-BD54AFF92B10}" destId="{E894996A-D514-46FA-9319-59B536804977}" srcOrd="0" destOrd="0" parTransId="{E0DDD7A8-8741-4DA0-B5C7-E63EDF6BD1CF}" sibTransId="{33EA3638-B143-4695-91A8-1B3792D81C53}"/>
    <dgm:cxn modelId="{08037417-8901-462C-A3CE-5DD2B58B95AC}" type="presOf" srcId="{9E4C102B-A3D7-486E-95D1-B349C1FF136C}" destId="{8395D97E-FA04-455D-8E3E-DD0E9F96DD88}" srcOrd="0" destOrd="1" presId="urn:microsoft.com/office/officeart/2005/8/layout/vList4"/>
    <dgm:cxn modelId="{A499C11E-7521-4F9B-B8EB-1102400C009E}" srcId="{2508F9FF-8A89-4539-982A-BD54AFF92B10}" destId="{39A7B906-DDA4-419A-BB1F-119FA1F6AFF7}" srcOrd="2" destOrd="0" parTransId="{0F5D5891-B7D7-498D-BAFB-7FEA4654FFE8}" sibTransId="{216DAB6C-8370-4284-831A-E4D59DE8B692}"/>
    <dgm:cxn modelId="{686F271F-03B7-4AE2-9259-0F0AF1854B03}" type="presOf" srcId="{39A7B906-DDA4-419A-BB1F-119FA1F6AFF7}" destId="{F085AB38-D51A-4D94-A12D-67CE60F630F1}" srcOrd="1" destOrd="3" presId="urn:microsoft.com/office/officeart/2005/8/layout/vList4"/>
    <dgm:cxn modelId="{BB4DAF22-B90D-4871-AAB1-1AB4F2C3A3EA}" type="presOf" srcId="{F3E91796-5BF1-4F07-9A19-85CE822B8ED7}" destId="{8DFE3CC6-7CFB-42F0-82E5-9C207C1D58D6}" srcOrd="1" destOrd="1" presId="urn:microsoft.com/office/officeart/2005/8/layout/vList4"/>
    <dgm:cxn modelId="{56165D24-D2FA-44D1-AFB9-5D40ACE4E49E}" type="presOf" srcId="{6CB0145D-5A20-49A9-AC9D-2806BDBD5FDE}" destId="{AFC8A2C9-AC40-4CCD-8F0C-0D5113FDCD3C}" srcOrd="1" destOrd="3" presId="urn:microsoft.com/office/officeart/2005/8/layout/vList4"/>
    <dgm:cxn modelId="{54210D27-3E83-4E4C-AF9A-8F0EB3CC78F1}" srcId="{28215F80-8325-49A4-BEDB-5A646EB41AFE}" destId="{F3E91796-5BF1-4F07-9A19-85CE822B8ED7}" srcOrd="0" destOrd="0" parTransId="{756E1855-07F9-4354-9DC8-AF30EA328E9E}" sibTransId="{7D5333B7-E49F-43F9-9C94-ABCCB6C2FDE3}"/>
    <dgm:cxn modelId="{14E5D029-8F1F-450C-923F-AA44EB7B42E5}" srcId="{AD5E0A7C-DCAB-45D4-A607-24D56C781A56}" destId="{28215F80-8325-49A4-BEDB-5A646EB41AFE}" srcOrd="0" destOrd="0" parTransId="{E17206B5-0BD9-48F9-A6A5-9B9FC5793D63}" sibTransId="{A4F5E8F5-B545-474D-A36A-636B09669A13}"/>
    <dgm:cxn modelId="{2B675A2D-A3FE-4612-AE4A-3B56DF532551}" type="presOf" srcId="{7C95AFF2-503F-4B27-8719-EA9355C73B91}" destId="{CEB324B9-37AA-4067-B856-D2E0F361529C}" srcOrd="0" destOrd="2" presId="urn:microsoft.com/office/officeart/2005/8/layout/vList4"/>
    <dgm:cxn modelId="{D0E0CA31-ECFC-4ADD-A037-43B11322EEF4}" srcId="{A37C1927-DB26-4537-A0AB-8FA8AA55E3E5}" destId="{440C829A-36EB-409B-878C-1C4A4B3375B3}" srcOrd="1" destOrd="0" parTransId="{D00396E7-7C5A-46D0-A145-7A6BE94C0178}" sibTransId="{E5CCF36B-7060-41BF-B97F-4173484DB131}"/>
    <dgm:cxn modelId="{0872A633-AA40-4C3A-BC8C-6158ABBA596A}" type="presOf" srcId="{440C829A-36EB-409B-878C-1C4A4B3375B3}" destId="{CB072B79-DBF1-4069-856D-FD045F092FE5}" srcOrd="0" destOrd="2" presId="urn:microsoft.com/office/officeart/2005/8/layout/vList4"/>
    <dgm:cxn modelId="{669AA337-9921-491A-AD27-C2D851888804}" type="presOf" srcId="{28215F80-8325-49A4-BEDB-5A646EB41AFE}" destId="{CEB324B9-37AA-4067-B856-D2E0F361529C}" srcOrd="0" destOrd="0" presId="urn:microsoft.com/office/officeart/2005/8/layout/vList4"/>
    <dgm:cxn modelId="{F3507140-97DB-45B2-8BF5-078657948E64}" type="presOf" srcId="{F3E91796-5BF1-4F07-9A19-85CE822B8ED7}" destId="{CEB324B9-37AA-4067-B856-D2E0F361529C}" srcOrd="0" destOrd="1" presId="urn:microsoft.com/office/officeart/2005/8/layout/vList4"/>
    <dgm:cxn modelId="{4DDF5E5F-ABA8-4EEF-AE3C-3FE864842B04}" srcId="{28215F80-8325-49A4-BEDB-5A646EB41AFE}" destId="{8381E8ED-B8E0-4CBE-9FBC-8568923DE184}" srcOrd="2" destOrd="0" parTransId="{1A9A3C2D-9416-4F76-A5CF-6D0C01501A3E}" sibTransId="{48976B9C-A363-4B00-94BB-354782AC0CFE}"/>
    <dgm:cxn modelId="{8BF31261-4252-42F0-A4B3-CF4B458476D4}" type="presOf" srcId="{CD102966-47F1-4127-B644-79E36971BF14}" destId="{F587A7B1-034F-44DE-BFCC-6E5127287A53}" srcOrd="0" destOrd="2" presId="urn:microsoft.com/office/officeart/2005/8/layout/vList4"/>
    <dgm:cxn modelId="{97CA6241-21C7-4216-9CBB-E52625E3EA13}" type="presOf" srcId="{8381E8ED-B8E0-4CBE-9FBC-8568923DE184}" destId="{CEB324B9-37AA-4067-B856-D2E0F361529C}" srcOrd="0" destOrd="3" presId="urn:microsoft.com/office/officeart/2005/8/layout/vList4"/>
    <dgm:cxn modelId="{04C1C762-5A61-4C35-BE29-4609E469A8C5}" type="presOf" srcId="{A37C1927-DB26-4537-A0AB-8FA8AA55E3E5}" destId="{CB072B79-DBF1-4069-856D-FD045F092FE5}" srcOrd="0" destOrd="0" presId="urn:microsoft.com/office/officeart/2005/8/layout/vList4"/>
    <dgm:cxn modelId="{2E713B64-E949-4D54-90ED-4671AB29C904}" srcId="{2508F9FF-8A89-4539-982A-BD54AFF92B10}" destId="{CD102966-47F1-4127-B644-79E36971BF14}" srcOrd="1" destOrd="0" parTransId="{17CBC914-EFC0-40A1-9589-B2AC4575D7B6}" sibTransId="{B96AC786-5B80-4F09-8D23-386AC2D210E1}"/>
    <dgm:cxn modelId="{456E8E64-44FC-49EA-B836-C0CACE0F5E57}" type="presOf" srcId="{732A8BB5-30B9-48BD-BEA5-5ED24DA60CFB}" destId="{8DFE3CC6-7CFB-42F0-82E5-9C207C1D58D6}" srcOrd="1" destOrd="5" presId="urn:microsoft.com/office/officeart/2005/8/layout/vList4"/>
    <dgm:cxn modelId="{D2C27747-B909-4835-A39D-5531CB91E6BD}" type="presOf" srcId="{3A6ED494-9263-405C-9F88-1A6B28821A17}" destId="{CB072B79-DBF1-4069-856D-FD045F092FE5}" srcOrd="0" destOrd="4" presId="urn:microsoft.com/office/officeart/2005/8/layout/vList4"/>
    <dgm:cxn modelId="{A60E6B6A-7C77-4270-8D5F-66CE3685C4EB}" srcId="{AD5E0A7C-DCAB-45D4-A607-24D56C781A56}" destId="{2508F9FF-8A89-4539-982A-BD54AFF92B10}" srcOrd="2" destOrd="0" parTransId="{EC01F487-90E6-4660-979A-D279D22C10BD}" sibTransId="{0034AC04-C53F-4645-BC77-29726EA93DB6}"/>
    <dgm:cxn modelId="{860C104C-D47C-47B7-B8E5-D9C403BEF7D7}" type="presOf" srcId="{A37C1927-DB26-4537-A0AB-8FA8AA55E3E5}" destId="{AFC8A2C9-AC40-4CCD-8F0C-0D5113FDCD3C}" srcOrd="1" destOrd="0" presId="urn:microsoft.com/office/officeart/2005/8/layout/vList4"/>
    <dgm:cxn modelId="{0C4E816C-F00F-46BE-BB20-7143DC8222C5}" type="presOf" srcId="{FCC00DA0-8418-43B3-A5FE-E00304067D8D}" destId="{8395D97E-FA04-455D-8E3E-DD0E9F96DD88}" srcOrd="0" destOrd="0" presId="urn:microsoft.com/office/officeart/2005/8/layout/vList4"/>
    <dgm:cxn modelId="{FF74096D-05C7-4A8C-B21E-D252BE6CB5A7}" srcId="{FCC00DA0-8418-43B3-A5FE-E00304067D8D}" destId="{9E4C102B-A3D7-486E-95D1-B349C1FF136C}" srcOrd="0" destOrd="0" parTransId="{AA6993D1-E486-464B-A421-5A68B4D062A2}" sibTransId="{0AA98482-14A7-41FC-A76A-678D972EFB42}"/>
    <dgm:cxn modelId="{9A632B54-F0F8-4790-80B1-8F14E430AE82}" type="presOf" srcId="{2508F9FF-8A89-4539-982A-BD54AFF92B10}" destId="{F085AB38-D51A-4D94-A12D-67CE60F630F1}" srcOrd="1" destOrd="0" presId="urn:microsoft.com/office/officeart/2005/8/layout/vList4"/>
    <dgm:cxn modelId="{FFF30375-FFF8-42B5-BEDF-8CBA4F62294B}" srcId="{AD5E0A7C-DCAB-45D4-A607-24D56C781A56}" destId="{A37C1927-DB26-4537-A0AB-8FA8AA55E3E5}" srcOrd="1" destOrd="0" parTransId="{C7BB3171-FF4B-4B5E-BA4C-3C4CBDB76E8E}" sibTransId="{6D3B62C7-AAE2-4733-B8C8-FED0ED8353D6}"/>
    <dgm:cxn modelId="{C5C24375-F8D0-48B0-B3F7-FE71348D5748}" type="presOf" srcId="{68B98A49-1718-4F00-BE7B-1C7973523293}" destId="{AFC8A2C9-AC40-4CCD-8F0C-0D5113FDCD3C}" srcOrd="1" destOrd="1" presId="urn:microsoft.com/office/officeart/2005/8/layout/vList4"/>
    <dgm:cxn modelId="{4BA62F56-18E2-4B93-8510-B84B448A95FF}" type="presOf" srcId="{9E4C102B-A3D7-486E-95D1-B349C1FF136C}" destId="{C53CDAD2-9252-4795-903F-1ABBCEA6B766}" srcOrd="1" destOrd="1" presId="urn:microsoft.com/office/officeart/2005/8/layout/vList4"/>
    <dgm:cxn modelId="{C5222C7A-C632-4DA8-AF36-D73F9198FA4D}" type="presOf" srcId="{CD102966-47F1-4127-B644-79E36971BF14}" destId="{F085AB38-D51A-4D94-A12D-67CE60F630F1}" srcOrd="1" destOrd="2" presId="urn:microsoft.com/office/officeart/2005/8/layout/vList4"/>
    <dgm:cxn modelId="{DF7D637A-0808-4DCE-9C17-90534F168A49}" type="presOf" srcId="{732A8BB5-30B9-48BD-BEA5-5ED24DA60CFB}" destId="{CEB324B9-37AA-4067-B856-D2E0F361529C}" srcOrd="0" destOrd="5" presId="urn:microsoft.com/office/officeart/2005/8/layout/vList4"/>
    <dgm:cxn modelId="{53F0677C-E462-480E-928F-5012792E3C4C}" type="presOf" srcId="{28215F80-8325-49A4-BEDB-5A646EB41AFE}" destId="{8DFE3CC6-7CFB-42F0-82E5-9C207C1D58D6}" srcOrd="1" destOrd="0" presId="urn:microsoft.com/office/officeart/2005/8/layout/vList4"/>
    <dgm:cxn modelId="{105C7E7F-67A9-47FC-9CC0-40CA6390EEF6}" type="presOf" srcId="{AD5E0A7C-DCAB-45D4-A607-24D56C781A56}" destId="{D396B2B7-4103-4DA8-9303-527BC14868D8}" srcOrd="0" destOrd="0" presId="urn:microsoft.com/office/officeart/2005/8/layout/vList4"/>
    <dgm:cxn modelId="{B08B0685-2185-4601-A0C9-5E019F9E6BA8}" srcId="{FCC00DA0-8418-43B3-A5FE-E00304067D8D}" destId="{4275F038-4D18-4665-9417-B17A2F6820DB}" srcOrd="1" destOrd="0" parTransId="{528DD872-358B-4AB9-A1CB-43702C8B6DCA}" sibTransId="{DBEF606F-0CAF-470A-A02E-0FBD56245AA7}"/>
    <dgm:cxn modelId="{DDEABB89-7C4F-4510-956E-36511EFEDEC9}" type="presOf" srcId="{440C829A-36EB-409B-878C-1C4A4B3375B3}" destId="{AFC8A2C9-AC40-4CCD-8F0C-0D5113FDCD3C}" srcOrd="1" destOrd="2" presId="urn:microsoft.com/office/officeart/2005/8/layout/vList4"/>
    <dgm:cxn modelId="{3641AF8A-4D4A-4D5E-9460-A581BDD13708}" type="presOf" srcId="{39A7B906-DDA4-419A-BB1F-119FA1F6AFF7}" destId="{F587A7B1-034F-44DE-BFCC-6E5127287A53}" srcOrd="0" destOrd="3" presId="urn:microsoft.com/office/officeart/2005/8/layout/vList4"/>
    <dgm:cxn modelId="{84841D91-EF81-4F98-B284-8E1CA8153FFE}" type="presOf" srcId="{E894996A-D514-46FA-9319-59B536804977}" destId="{F085AB38-D51A-4D94-A12D-67CE60F630F1}" srcOrd="1" destOrd="1" presId="urn:microsoft.com/office/officeart/2005/8/layout/vList4"/>
    <dgm:cxn modelId="{A3ADBBA0-99BE-4DE0-9C54-7B4D7A8D8B18}" type="presOf" srcId="{832B9F7F-5A9C-47FF-B748-D4C9ED0901CF}" destId="{8395D97E-FA04-455D-8E3E-DD0E9F96DD88}" srcOrd="0" destOrd="3" presId="urn:microsoft.com/office/officeart/2005/8/layout/vList4"/>
    <dgm:cxn modelId="{72F912AD-5E42-49F7-9891-7D2A97F43E2D}" type="presOf" srcId="{4275F038-4D18-4665-9417-B17A2F6820DB}" destId="{8395D97E-FA04-455D-8E3E-DD0E9F96DD88}" srcOrd="0" destOrd="2" presId="urn:microsoft.com/office/officeart/2005/8/layout/vList4"/>
    <dgm:cxn modelId="{88EE5AAF-7373-4002-B60D-8335A53A7ADC}" type="presOf" srcId="{6CB0145D-5A20-49A9-AC9D-2806BDBD5FDE}" destId="{CB072B79-DBF1-4069-856D-FD045F092FE5}" srcOrd="0" destOrd="3" presId="urn:microsoft.com/office/officeart/2005/8/layout/vList4"/>
    <dgm:cxn modelId="{1E6A54B1-1FB5-4739-B1CE-2072B5CE6E2C}" type="presOf" srcId="{FCC00DA0-8418-43B3-A5FE-E00304067D8D}" destId="{C53CDAD2-9252-4795-903F-1ABBCEA6B766}" srcOrd="1" destOrd="0" presId="urn:microsoft.com/office/officeart/2005/8/layout/vList4"/>
    <dgm:cxn modelId="{6AD1A7C2-6D71-4A2B-89E1-A79028158AC6}" type="presOf" srcId="{68B98A49-1718-4F00-BE7B-1C7973523293}" destId="{CB072B79-DBF1-4069-856D-FD045F092FE5}" srcOrd="0" destOrd="1" presId="urn:microsoft.com/office/officeart/2005/8/layout/vList4"/>
    <dgm:cxn modelId="{FE34C3C3-D2F8-4D65-9CD9-367675A2F6E8}" srcId="{A37C1927-DB26-4537-A0AB-8FA8AA55E3E5}" destId="{3A6ED494-9263-405C-9F88-1A6B28821A17}" srcOrd="3" destOrd="0" parTransId="{D00A567F-E857-48E6-AB35-1E0DEE66332C}" sibTransId="{806A0457-4891-4E73-AC22-5C621B09C95D}"/>
    <dgm:cxn modelId="{75AE7BC4-DB0A-464F-B8D8-F016A12CC9AF}" srcId="{28215F80-8325-49A4-BEDB-5A646EB41AFE}" destId="{7C95AFF2-503F-4B27-8719-EA9355C73B91}" srcOrd="1" destOrd="0" parTransId="{9858CBC6-B63D-445B-8B60-D64F9DE66D0A}" sibTransId="{738E1B02-F302-40CE-A618-A52C253614C6}"/>
    <dgm:cxn modelId="{719A21C9-4CBC-4AA6-AB0E-75A31AAB8B48}" srcId="{A37C1927-DB26-4537-A0AB-8FA8AA55E3E5}" destId="{6CB0145D-5A20-49A9-AC9D-2806BDBD5FDE}" srcOrd="2" destOrd="0" parTransId="{960B8B98-2200-42DD-8C33-30C195A01895}" sibTransId="{2CCAE467-3103-4F6F-9D27-5797B6AA34B0}"/>
    <dgm:cxn modelId="{25CD96D6-55C2-4EBC-9130-38109E492CAF}" srcId="{AD5E0A7C-DCAB-45D4-A607-24D56C781A56}" destId="{FCC00DA0-8418-43B3-A5FE-E00304067D8D}" srcOrd="3" destOrd="0" parTransId="{1DCB5C8E-872A-4254-A071-A88573E1E6CE}" sibTransId="{1753C1BE-3181-4180-98ED-027C80EC4115}"/>
    <dgm:cxn modelId="{808541DF-39AE-483C-8E4D-D3950B80A2E7}" srcId="{28215F80-8325-49A4-BEDB-5A646EB41AFE}" destId="{732A8BB5-30B9-48BD-BEA5-5ED24DA60CFB}" srcOrd="4" destOrd="0" parTransId="{4271F6C1-D448-4462-B4A2-B72C1CC3BD6D}" sibTransId="{F8015763-1079-4DF7-81B4-C19EB5B8CC72}"/>
    <dgm:cxn modelId="{A44B41E3-E7AE-416F-AB76-48BE5C143BF4}" srcId="{28215F80-8325-49A4-BEDB-5A646EB41AFE}" destId="{77F34561-3E48-41A0-BC17-91C1C0D41402}" srcOrd="3" destOrd="0" parTransId="{3AE6C7C7-0F27-44B2-BE58-C00C81D983F0}" sibTransId="{7182A7D3-73E6-431C-AEE8-5D76E7FC84A4}"/>
    <dgm:cxn modelId="{43B6E0E3-A903-4E2F-A258-9AF71F1EC7AE}" type="presOf" srcId="{8381E8ED-B8E0-4CBE-9FBC-8568923DE184}" destId="{8DFE3CC6-7CFB-42F0-82E5-9C207C1D58D6}" srcOrd="1" destOrd="3" presId="urn:microsoft.com/office/officeart/2005/8/layout/vList4"/>
    <dgm:cxn modelId="{0BC9DEE5-4F0C-4ECF-896F-98F8BA8A042E}" type="presOf" srcId="{77F34561-3E48-41A0-BC17-91C1C0D41402}" destId="{8DFE3CC6-7CFB-42F0-82E5-9C207C1D58D6}" srcOrd="1" destOrd="4" presId="urn:microsoft.com/office/officeart/2005/8/layout/vList4"/>
    <dgm:cxn modelId="{1AF16EE9-5CB6-4C5A-98DC-1C5DD7687EEF}" type="presOf" srcId="{3A6ED494-9263-405C-9F88-1A6B28821A17}" destId="{AFC8A2C9-AC40-4CCD-8F0C-0D5113FDCD3C}" srcOrd="1" destOrd="4" presId="urn:microsoft.com/office/officeart/2005/8/layout/vList4"/>
    <dgm:cxn modelId="{D4F726EB-E4CA-4C06-B8CD-78B95181C869}" type="presOf" srcId="{832B9F7F-5A9C-47FF-B748-D4C9ED0901CF}" destId="{C53CDAD2-9252-4795-903F-1ABBCEA6B766}" srcOrd="1" destOrd="3" presId="urn:microsoft.com/office/officeart/2005/8/layout/vList4"/>
    <dgm:cxn modelId="{4CBA05ED-A6FC-4C1A-A6B7-0ADA7D4AD212}" srcId="{FCC00DA0-8418-43B3-A5FE-E00304067D8D}" destId="{832B9F7F-5A9C-47FF-B748-D4C9ED0901CF}" srcOrd="2" destOrd="0" parTransId="{536B5555-9852-477F-9EC8-72975DFA95DC}" sibTransId="{6FA127F4-59E0-4A21-AF9C-F655A45D1CC5}"/>
    <dgm:cxn modelId="{2D2632EE-8AFF-46C8-B0A7-7CFCE73353F8}" type="presOf" srcId="{E894996A-D514-46FA-9319-59B536804977}" destId="{F587A7B1-034F-44DE-BFCC-6E5127287A53}" srcOrd="0" destOrd="1" presId="urn:microsoft.com/office/officeart/2005/8/layout/vList4"/>
    <dgm:cxn modelId="{E416E5EE-F1D8-4684-86CB-331169CBA11B}" type="presOf" srcId="{77F34561-3E48-41A0-BC17-91C1C0D41402}" destId="{CEB324B9-37AA-4067-B856-D2E0F361529C}" srcOrd="0" destOrd="4" presId="urn:microsoft.com/office/officeart/2005/8/layout/vList4"/>
    <dgm:cxn modelId="{870DBAF4-A7C1-4B57-A1E6-55C885BF39EC}" type="presOf" srcId="{4275F038-4D18-4665-9417-B17A2F6820DB}" destId="{C53CDAD2-9252-4795-903F-1ABBCEA6B766}" srcOrd="1" destOrd="2" presId="urn:microsoft.com/office/officeart/2005/8/layout/vList4"/>
    <dgm:cxn modelId="{F7CB02FA-D085-4C91-9F34-1901DC05C14A}" type="presOf" srcId="{7C95AFF2-503F-4B27-8719-EA9355C73B91}" destId="{8DFE3CC6-7CFB-42F0-82E5-9C207C1D58D6}" srcOrd="1" destOrd="2" presId="urn:microsoft.com/office/officeart/2005/8/layout/vList4"/>
    <dgm:cxn modelId="{E7C2B8CF-88D0-4322-8DB5-44AE8C9650F7}" type="presParOf" srcId="{D396B2B7-4103-4DA8-9303-527BC14868D8}" destId="{81032A07-F446-43F1-81A3-53DE29926BDB}" srcOrd="0" destOrd="0" presId="urn:microsoft.com/office/officeart/2005/8/layout/vList4"/>
    <dgm:cxn modelId="{52845E6B-F71B-4307-9F2A-F389AADE34B2}" type="presParOf" srcId="{81032A07-F446-43F1-81A3-53DE29926BDB}" destId="{CEB324B9-37AA-4067-B856-D2E0F361529C}" srcOrd="0" destOrd="0" presId="urn:microsoft.com/office/officeart/2005/8/layout/vList4"/>
    <dgm:cxn modelId="{A469C831-0A88-43F2-9B83-01C2F6AB535B}" type="presParOf" srcId="{81032A07-F446-43F1-81A3-53DE29926BDB}" destId="{6BAA568F-943E-4AF9-AE23-D8520A687871}" srcOrd="1" destOrd="0" presId="urn:microsoft.com/office/officeart/2005/8/layout/vList4"/>
    <dgm:cxn modelId="{C697AC4A-CD89-41EC-8050-94070C0B7709}" type="presParOf" srcId="{81032A07-F446-43F1-81A3-53DE29926BDB}" destId="{8DFE3CC6-7CFB-42F0-82E5-9C207C1D58D6}" srcOrd="2" destOrd="0" presId="urn:microsoft.com/office/officeart/2005/8/layout/vList4"/>
    <dgm:cxn modelId="{3C2551B1-2033-4668-A531-5EF49EFED032}" type="presParOf" srcId="{D396B2B7-4103-4DA8-9303-527BC14868D8}" destId="{0F6EA3DA-3217-4A17-8DBB-2637197107DE}" srcOrd="1" destOrd="0" presId="urn:microsoft.com/office/officeart/2005/8/layout/vList4"/>
    <dgm:cxn modelId="{F7E75B03-8A0A-4646-8340-B435AFB1D800}" type="presParOf" srcId="{D396B2B7-4103-4DA8-9303-527BC14868D8}" destId="{F4A965FC-1CEE-4753-A69F-1C592E74B80C}" srcOrd="2" destOrd="0" presId="urn:microsoft.com/office/officeart/2005/8/layout/vList4"/>
    <dgm:cxn modelId="{24C7354B-1C5D-4E71-87E4-8B7A1B8BFC04}" type="presParOf" srcId="{F4A965FC-1CEE-4753-A69F-1C592E74B80C}" destId="{CB072B79-DBF1-4069-856D-FD045F092FE5}" srcOrd="0" destOrd="0" presId="urn:microsoft.com/office/officeart/2005/8/layout/vList4"/>
    <dgm:cxn modelId="{4DE56558-6CBE-4372-8905-64786BDFD27B}" type="presParOf" srcId="{F4A965FC-1CEE-4753-A69F-1C592E74B80C}" destId="{41E58631-ABAA-44F8-9D0A-CC7962D37EC7}" srcOrd="1" destOrd="0" presId="urn:microsoft.com/office/officeart/2005/8/layout/vList4"/>
    <dgm:cxn modelId="{382FDCC2-2CA7-40A0-B522-D94BF8810D80}" type="presParOf" srcId="{F4A965FC-1CEE-4753-A69F-1C592E74B80C}" destId="{AFC8A2C9-AC40-4CCD-8F0C-0D5113FDCD3C}" srcOrd="2" destOrd="0" presId="urn:microsoft.com/office/officeart/2005/8/layout/vList4"/>
    <dgm:cxn modelId="{116AFD94-D6DA-463D-929E-4E865282CBCF}" type="presParOf" srcId="{D396B2B7-4103-4DA8-9303-527BC14868D8}" destId="{B3B3D299-1402-4F07-87EC-E81E84133CD7}" srcOrd="3" destOrd="0" presId="urn:microsoft.com/office/officeart/2005/8/layout/vList4"/>
    <dgm:cxn modelId="{0BB5CDC2-61C4-4D9B-96F0-983DD0B31954}" type="presParOf" srcId="{D396B2B7-4103-4DA8-9303-527BC14868D8}" destId="{ABEA85E0-0EAC-4070-B9C4-6B8BB71BA9C0}" srcOrd="4" destOrd="0" presId="urn:microsoft.com/office/officeart/2005/8/layout/vList4"/>
    <dgm:cxn modelId="{77770767-5EB9-4AE2-8822-B83FD86EC13D}" type="presParOf" srcId="{ABEA85E0-0EAC-4070-B9C4-6B8BB71BA9C0}" destId="{F587A7B1-034F-44DE-BFCC-6E5127287A53}" srcOrd="0" destOrd="0" presId="urn:microsoft.com/office/officeart/2005/8/layout/vList4"/>
    <dgm:cxn modelId="{F1398F73-8270-4CD0-AD3E-E4FD0FFD8DEA}" type="presParOf" srcId="{ABEA85E0-0EAC-4070-B9C4-6B8BB71BA9C0}" destId="{5FD2938C-2487-45E8-B640-5436381129FF}" srcOrd="1" destOrd="0" presId="urn:microsoft.com/office/officeart/2005/8/layout/vList4"/>
    <dgm:cxn modelId="{2DD382ED-4488-4673-8B5D-DA8003C83B88}" type="presParOf" srcId="{ABEA85E0-0EAC-4070-B9C4-6B8BB71BA9C0}" destId="{F085AB38-D51A-4D94-A12D-67CE60F630F1}" srcOrd="2" destOrd="0" presId="urn:microsoft.com/office/officeart/2005/8/layout/vList4"/>
    <dgm:cxn modelId="{D6E510BE-5D0D-4D25-9F0E-F76108877CE6}" type="presParOf" srcId="{D396B2B7-4103-4DA8-9303-527BC14868D8}" destId="{A29AECD7-2D80-4BE6-9F3D-ADF79CDACB5A}" srcOrd="5" destOrd="0" presId="urn:microsoft.com/office/officeart/2005/8/layout/vList4"/>
    <dgm:cxn modelId="{A0D95419-1E98-491C-8774-8278D031CE16}" type="presParOf" srcId="{D396B2B7-4103-4DA8-9303-527BC14868D8}" destId="{7D1D4FC1-D7E1-4D65-AEF0-EF6A22D1A0F6}" srcOrd="6" destOrd="0" presId="urn:microsoft.com/office/officeart/2005/8/layout/vList4"/>
    <dgm:cxn modelId="{340D8565-531C-4A17-AA54-F8141A2A2CAC}" type="presParOf" srcId="{7D1D4FC1-D7E1-4D65-AEF0-EF6A22D1A0F6}" destId="{8395D97E-FA04-455D-8E3E-DD0E9F96DD88}" srcOrd="0" destOrd="0" presId="urn:microsoft.com/office/officeart/2005/8/layout/vList4"/>
    <dgm:cxn modelId="{C896230C-2D82-41D7-8CAC-5E239CA7E59D}" type="presParOf" srcId="{7D1D4FC1-D7E1-4D65-AEF0-EF6A22D1A0F6}" destId="{70009E8B-D260-4550-B06F-C6DD8486BCEC}" srcOrd="1" destOrd="0" presId="urn:microsoft.com/office/officeart/2005/8/layout/vList4"/>
    <dgm:cxn modelId="{299549B1-1151-4A84-879D-D3FDCDA7C05F}" type="presParOf" srcId="{7D1D4FC1-D7E1-4D65-AEF0-EF6A22D1A0F6}" destId="{C53CDAD2-9252-4795-903F-1ABBCEA6B766}"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9C2EF5-7420-4125-B7D4-3ED54E10A00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N"/>
        </a:p>
      </dgm:t>
    </dgm:pt>
    <dgm:pt modelId="{B5D894D9-2710-492B-9513-194EEB60E91C}">
      <dgm:prSet phldrT="[Text]"/>
      <dgm:spPr/>
      <dgm:t>
        <a:bodyPr/>
        <a:lstStyle/>
        <a:p>
          <a:r>
            <a:rPr lang="en-IN" dirty="0"/>
            <a:t>EHS </a:t>
          </a:r>
        </a:p>
      </dgm:t>
    </dgm:pt>
    <dgm:pt modelId="{DD7065C0-ACCD-4C4E-8128-1A58EF9192F9}" type="parTrans" cxnId="{8368E0A9-B6C0-4D5C-9BBD-1A1B91192FB4}">
      <dgm:prSet/>
      <dgm:spPr/>
      <dgm:t>
        <a:bodyPr/>
        <a:lstStyle/>
        <a:p>
          <a:endParaRPr lang="en-IN"/>
        </a:p>
      </dgm:t>
    </dgm:pt>
    <dgm:pt modelId="{77A63F27-71EA-4757-8813-922083579E89}" type="sibTrans" cxnId="{8368E0A9-B6C0-4D5C-9BBD-1A1B91192FB4}">
      <dgm:prSet/>
      <dgm:spPr/>
      <dgm:t>
        <a:bodyPr/>
        <a:lstStyle/>
        <a:p>
          <a:endParaRPr lang="en-IN"/>
        </a:p>
      </dgm:t>
    </dgm:pt>
    <dgm:pt modelId="{C2D93526-E504-42E9-B6D1-BAE59FA3E4B3}">
      <dgm:prSet phldrT="[Text]"/>
      <dgm:spPr/>
      <dgm:t>
        <a:bodyPr/>
        <a:lstStyle/>
        <a:p>
          <a:r>
            <a:rPr lang="en-IN" dirty="0"/>
            <a:t>22 nos.</a:t>
          </a:r>
        </a:p>
      </dgm:t>
    </dgm:pt>
    <dgm:pt modelId="{F853EA86-B7B3-4ACE-9C9F-9A7B54D2B7D7}" type="parTrans" cxnId="{BDD4E575-1E08-4B90-9731-0E0908EDEC2E}">
      <dgm:prSet/>
      <dgm:spPr/>
      <dgm:t>
        <a:bodyPr/>
        <a:lstStyle/>
        <a:p>
          <a:endParaRPr lang="en-IN"/>
        </a:p>
      </dgm:t>
    </dgm:pt>
    <dgm:pt modelId="{0C3E55A9-0E3D-4142-9DFD-AF21AA248BED}" type="sibTrans" cxnId="{BDD4E575-1E08-4B90-9731-0E0908EDEC2E}">
      <dgm:prSet/>
      <dgm:spPr/>
      <dgm:t>
        <a:bodyPr/>
        <a:lstStyle/>
        <a:p>
          <a:endParaRPr lang="en-IN"/>
        </a:p>
      </dgm:t>
    </dgm:pt>
    <dgm:pt modelId="{7E569EEE-4F89-45DE-989D-E3FF1B8AD382}">
      <dgm:prSet phldrT="[Text]"/>
      <dgm:spPr/>
      <dgm:t>
        <a:bodyPr/>
        <a:lstStyle/>
        <a:p>
          <a:r>
            <a:rPr lang="en-IN" dirty="0"/>
            <a:t>Production </a:t>
          </a:r>
        </a:p>
      </dgm:t>
    </dgm:pt>
    <dgm:pt modelId="{2AF0DD18-3444-4365-BD62-7FFA344580E7}" type="parTrans" cxnId="{62C31FAE-7359-45BC-981C-A247D2CBBF98}">
      <dgm:prSet/>
      <dgm:spPr/>
      <dgm:t>
        <a:bodyPr/>
        <a:lstStyle/>
        <a:p>
          <a:endParaRPr lang="en-IN"/>
        </a:p>
      </dgm:t>
    </dgm:pt>
    <dgm:pt modelId="{D5919C8E-B31A-49C8-A9D5-3B2C82EAF1C9}" type="sibTrans" cxnId="{62C31FAE-7359-45BC-981C-A247D2CBBF98}">
      <dgm:prSet/>
      <dgm:spPr/>
      <dgm:t>
        <a:bodyPr/>
        <a:lstStyle/>
        <a:p>
          <a:endParaRPr lang="en-IN"/>
        </a:p>
      </dgm:t>
    </dgm:pt>
    <dgm:pt modelId="{DDA27534-092F-43D1-B297-B22332AEB6ED}">
      <dgm:prSet phldrT="[Text]"/>
      <dgm:spPr/>
      <dgm:t>
        <a:bodyPr/>
        <a:lstStyle/>
        <a:p>
          <a:r>
            <a:rPr lang="en-IN" dirty="0"/>
            <a:t>126 nos.</a:t>
          </a:r>
        </a:p>
      </dgm:t>
    </dgm:pt>
    <dgm:pt modelId="{9339201C-B1C4-4977-9E85-D1831C8EA100}" type="parTrans" cxnId="{BC88E7C1-87B1-4451-8120-404AEA22C4C2}">
      <dgm:prSet/>
      <dgm:spPr/>
      <dgm:t>
        <a:bodyPr/>
        <a:lstStyle/>
        <a:p>
          <a:endParaRPr lang="en-IN"/>
        </a:p>
      </dgm:t>
    </dgm:pt>
    <dgm:pt modelId="{CE0300BE-0654-42A8-87D3-D929B4BA6FAD}" type="sibTrans" cxnId="{BC88E7C1-87B1-4451-8120-404AEA22C4C2}">
      <dgm:prSet/>
      <dgm:spPr/>
      <dgm:t>
        <a:bodyPr/>
        <a:lstStyle/>
        <a:p>
          <a:endParaRPr lang="en-IN"/>
        </a:p>
      </dgm:t>
    </dgm:pt>
    <dgm:pt modelId="{4913B9DC-0FFD-4336-8711-EE1F009D602F}">
      <dgm:prSet phldrT="[Text]"/>
      <dgm:spPr/>
      <dgm:t>
        <a:bodyPr/>
        <a:lstStyle/>
        <a:p>
          <a:r>
            <a:rPr lang="en-IN" dirty="0"/>
            <a:t>QA</a:t>
          </a:r>
        </a:p>
      </dgm:t>
    </dgm:pt>
    <dgm:pt modelId="{E174EE87-FF04-4E5F-8168-463986D2BC95}" type="parTrans" cxnId="{F4222EDC-2D33-456F-8AF6-B6208A8DB5DA}">
      <dgm:prSet/>
      <dgm:spPr/>
      <dgm:t>
        <a:bodyPr/>
        <a:lstStyle/>
        <a:p>
          <a:endParaRPr lang="en-IN"/>
        </a:p>
      </dgm:t>
    </dgm:pt>
    <dgm:pt modelId="{CA0C4BAF-4ED8-4359-B8D9-60F2CEEBAD00}" type="sibTrans" cxnId="{F4222EDC-2D33-456F-8AF6-B6208A8DB5DA}">
      <dgm:prSet/>
      <dgm:spPr/>
      <dgm:t>
        <a:bodyPr/>
        <a:lstStyle/>
        <a:p>
          <a:endParaRPr lang="en-IN"/>
        </a:p>
      </dgm:t>
    </dgm:pt>
    <dgm:pt modelId="{299284B4-3784-4447-8DB2-4089844221B9}">
      <dgm:prSet phldrT="[Text]"/>
      <dgm:spPr/>
      <dgm:t>
        <a:bodyPr/>
        <a:lstStyle/>
        <a:p>
          <a:r>
            <a:rPr lang="en-IN" dirty="0"/>
            <a:t>38 nos.</a:t>
          </a:r>
        </a:p>
      </dgm:t>
    </dgm:pt>
    <dgm:pt modelId="{0A6CF31D-3D75-49F4-B56C-416CD7D3BF56}" type="parTrans" cxnId="{3609A607-AD11-4B9A-8609-C6D9F8BC95C1}">
      <dgm:prSet/>
      <dgm:spPr/>
      <dgm:t>
        <a:bodyPr/>
        <a:lstStyle/>
        <a:p>
          <a:endParaRPr lang="en-IN"/>
        </a:p>
      </dgm:t>
    </dgm:pt>
    <dgm:pt modelId="{AF3CE939-96C1-44BA-86F3-F4B9B7C5F991}" type="sibTrans" cxnId="{3609A607-AD11-4B9A-8609-C6D9F8BC95C1}">
      <dgm:prSet/>
      <dgm:spPr/>
      <dgm:t>
        <a:bodyPr/>
        <a:lstStyle/>
        <a:p>
          <a:endParaRPr lang="en-IN"/>
        </a:p>
      </dgm:t>
    </dgm:pt>
    <dgm:pt modelId="{06C11A37-2FF4-4F71-BD54-EE295FD2A26A}">
      <dgm:prSet phldrT="[Text]"/>
      <dgm:spPr/>
      <dgm:t>
        <a:bodyPr/>
        <a:lstStyle/>
        <a:p>
          <a:r>
            <a:rPr lang="en-IN" dirty="0"/>
            <a:t>QC + Microbiology +QCD</a:t>
          </a:r>
        </a:p>
      </dgm:t>
    </dgm:pt>
    <dgm:pt modelId="{C56F3243-BD20-4F37-B6B0-05FCE7637EA8}" type="parTrans" cxnId="{054B981E-509A-4BBD-90AF-CBEDEBA9618D}">
      <dgm:prSet/>
      <dgm:spPr/>
      <dgm:t>
        <a:bodyPr/>
        <a:lstStyle/>
        <a:p>
          <a:endParaRPr lang="en-IN"/>
        </a:p>
      </dgm:t>
    </dgm:pt>
    <dgm:pt modelId="{7B67EF7A-C77B-44FA-B4EF-58DF4E0B2CB4}" type="sibTrans" cxnId="{054B981E-509A-4BBD-90AF-CBEDEBA9618D}">
      <dgm:prSet/>
      <dgm:spPr/>
      <dgm:t>
        <a:bodyPr/>
        <a:lstStyle/>
        <a:p>
          <a:endParaRPr lang="en-IN"/>
        </a:p>
      </dgm:t>
    </dgm:pt>
    <dgm:pt modelId="{A9305F46-CD9C-4A29-A039-4C4FE9F5F6F1}">
      <dgm:prSet phldrT="[Text]"/>
      <dgm:spPr/>
      <dgm:t>
        <a:bodyPr/>
        <a:lstStyle/>
        <a:p>
          <a:r>
            <a:rPr lang="en-IN" dirty="0"/>
            <a:t>138 nos.</a:t>
          </a:r>
        </a:p>
      </dgm:t>
    </dgm:pt>
    <dgm:pt modelId="{F22DB704-AF66-426B-B56C-929A1B0C8932}" type="parTrans" cxnId="{090791E0-0EEA-4918-88D6-37923877FA90}">
      <dgm:prSet/>
      <dgm:spPr/>
      <dgm:t>
        <a:bodyPr/>
        <a:lstStyle/>
        <a:p>
          <a:endParaRPr lang="en-IN"/>
        </a:p>
      </dgm:t>
    </dgm:pt>
    <dgm:pt modelId="{04BACB8E-6C81-46C4-A3DF-28D5361C735B}" type="sibTrans" cxnId="{090791E0-0EEA-4918-88D6-37923877FA90}">
      <dgm:prSet/>
      <dgm:spPr/>
      <dgm:t>
        <a:bodyPr/>
        <a:lstStyle/>
        <a:p>
          <a:endParaRPr lang="en-IN"/>
        </a:p>
      </dgm:t>
    </dgm:pt>
    <dgm:pt modelId="{2AE37B69-949A-4CD0-9199-6F464BECAF07}">
      <dgm:prSet phldrT="[Text]"/>
      <dgm:spPr/>
      <dgm:t>
        <a:bodyPr/>
        <a:lstStyle/>
        <a:p>
          <a:r>
            <a:rPr lang="en-IN" dirty="0"/>
            <a:t>Warehouse</a:t>
          </a:r>
        </a:p>
      </dgm:t>
    </dgm:pt>
    <dgm:pt modelId="{499AE446-A523-473F-83E6-F6DD0052F14A}" type="parTrans" cxnId="{EAE47E3C-EDE1-4F43-B0B6-8753A52C5F79}">
      <dgm:prSet/>
      <dgm:spPr/>
      <dgm:t>
        <a:bodyPr/>
        <a:lstStyle/>
        <a:p>
          <a:endParaRPr lang="en-IN"/>
        </a:p>
      </dgm:t>
    </dgm:pt>
    <dgm:pt modelId="{B2DC0857-9465-45D4-831C-F2BAC6074C6D}" type="sibTrans" cxnId="{EAE47E3C-EDE1-4F43-B0B6-8753A52C5F79}">
      <dgm:prSet/>
      <dgm:spPr/>
      <dgm:t>
        <a:bodyPr/>
        <a:lstStyle/>
        <a:p>
          <a:endParaRPr lang="en-IN"/>
        </a:p>
      </dgm:t>
    </dgm:pt>
    <dgm:pt modelId="{4C3A2B4D-5256-4CF6-9D6C-AD8B73DDAE8A}">
      <dgm:prSet phldrT="[Text]"/>
      <dgm:spPr/>
      <dgm:t>
        <a:bodyPr/>
        <a:lstStyle/>
        <a:p>
          <a:r>
            <a:rPr lang="en-IN" dirty="0"/>
            <a:t>33 nos.</a:t>
          </a:r>
        </a:p>
      </dgm:t>
    </dgm:pt>
    <dgm:pt modelId="{9A51343F-71F4-4725-9B5B-7E791B3E3B13}" type="parTrans" cxnId="{6A4960DE-2AE6-443B-848A-D1A637B34A6E}">
      <dgm:prSet/>
      <dgm:spPr/>
      <dgm:t>
        <a:bodyPr/>
        <a:lstStyle/>
        <a:p>
          <a:endParaRPr lang="en-IN"/>
        </a:p>
      </dgm:t>
    </dgm:pt>
    <dgm:pt modelId="{0C966E87-7A02-40AA-AC57-44F5CC2BE87C}" type="sibTrans" cxnId="{6A4960DE-2AE6-443B-848A-D1A637B34A6E}">
      <dgm:prSet/>
      <dgm:spPr/>
      <dgm:t>
        <a:bodyPr/>
        <a:lstStyle/>
        <a:p>
          <a:endParaRPr lang="en-IN"/>
        </a:p>
      </dgm:t>
    </dgm:pt>
    <dgm:pt modelId="{7E7EA24C-66EE-41D4-AB08-A8639E4FDDC1}">
      <dgm:prSet phldrT="[Text]"/>
      <dgm:spPr/>
      <dgm:t>
        <a:bodyPr/>
        <a:lstStyle/>
        <a:p>
          <a:r>
            <a:rPr lang="en-IN" dirty="0"/>
            <a:t>Engineering (Electrical + Instrumentation + Maintenance)  </a:t>
          </a:r>
        </a:p>
      </dgm:t>
    </dgm:pt>
    <dgm:pt modelId="{8E06B3D4-17ED-4F69-9DE0-CE319DDF62FF}" type="parTrans" cxnId="{07133F74-1B9A-4C9F-9E71-D826165EFD46}">
      <dgm:prSet/>
      <dgm:spPr/>
      <dgm:t>
        <a:bodyPr/>
        <a:lstStyle/>
        <a:p>
          <a:endParaRPr lang="en-IN"/>
        </a:p>
      </dgm:t>
    </dgm:pt>
    <dgm:pt modelId="{AD497E4F-4E74-4B9F-ADD4-097D006A3AC7}" type="sibTrans" cxnId="{07133F74-1B9A-4C9F-9E71-D826165EFD46}">
      <dgm:prSet/>
      <dgm:spPr/>
      <dgm:t>
        <a:bodyPr/>
        <a:lstStyle/>
        <a:p>
          <a:endParaRPr lang="en-IN"/>
        </a:p>
      </dgm:t>
    </dgm:pt>
    <dgm:pt modelId="{2B05A923-9DA4-4610-A0EA-8C162A2BCDE9}">
      <dgm:prSet phldrT="[Text]"/>
      <dgm:spPr/>
      <dgm:t>
        <a:bodyPr/>
        <a:lstStyle/>
        <a:p>
          <a:r>
            <a:rPr lang="en-IN" dirty="0"/>
            <a:t>63 nos.</a:t>
          </a:r>
        </a:p>
      </dgm:t>
    </dgm:pt>
    <dgm:pt modelId="{1C895DC5-114F-4019-9C0F-ADF9567C680F}" type="parTrans" cxnId="{5273B335-2966-4532-9C6C-48D0BB305608}">
      <dgm:prSet/>
      <dgm:spPr/>
      <dgm:t>
        <a:bodyPr/>
        <a:lstStyle/>
        <a:p>
          <a:endParaRPr lang="en-IN"/>
        </a:p>
      </dgm:t>
    </dgm:pt>
    <dgm:pt modelId="{09299E15-4632-444A-80CC-3436CD271629}" type="sibTrans" cxnId="{5273B335-2966-4532-9C6C-48D0BB305608}">
      <dgm:prSet/>
      <dgm:spPr/>
      <dgm:t>
        <a:bodyPr/>
        <a:lstStyle/>
        <a:p>
          <a:endParaRPr lang="en-IN"/>
        </a:p>
      </dgm:t>
    </dgm:pt>
    <dgm:pt modelId="{AD5D18C0-F0D4-49D2-BB8A-95CF9A7BB556}">
      <dgm:prSet phldrT="[Text]"/>
      <dgm:spPr/>
      <dgm:t>
        <a:bodyPr/>
        <a:lstStyle/>
        <a:p>
          <a:r>
            <a:rPr lang="en-IN" dirty="0"/>
            <a:t>16 nos.</a:t>
          </a:r>
        </a:p>
      </dgm:t>
    </dgm:pt>
    <dgm:pt modelId="{6B58ECFC-1704-44FC-AEB3-70110785797A}" type="parTrans" cxnId="{DE9B86C4-B7B7-42AC-907A-26A0F208ABE2}">
      <dgm:prSet/>
      <dgm:spPr/>
      <dgm:t>
        <a:bodyPr/>
        <a:lstStyle/>
        <a:p>
          <a:endParaRPr lang="en-IN"/>
        </a:p>
      </dgm:t>
    </dgm:pt>
    <dgm:pt modelId="{0BD811A3-689A-4359-818B-F543B6C80785}" type="sibTrans" cxnId="{DE9B86C4-B7B7-42AC-907A-26A0F208ABE2}">
      <dgm:prSet/>
      <dgm:spPr/>
      <dgm:t>
        <a:bodyPr/>
        <a:lstStyle/>
        <a:p>
          <a:endParaRPr lang="en-IN"/>
        </a:p>
      </dgm:t>
    </dgm:pt>
    <dgm:pt modelId="{2ECAE5FA-129D-4F66-87BC-A432FFD46259}">
      <dgm:prSet phldrT="[Text]"/>
      <dgm:spPr/>
      <dgm:t>
        <a:bodyPr/>
        <a:lstStyle/>
        <a:p>
          <a:r>
            <a:rPr lang="en-IN" dirty="0"/>
            <a:t>HR &amp; Admin</a:t>
          </a:r>
        </a:p>
      </dgm:t>
    </dgm:pt>
    <dgm:pt modelId="{130C257A-1F21-44C5-B1D8-E5FD5CAFA401}" type="parTrans" cxnId="{FFF3D0D0-1744-4D2A-9351-B2905072DCC0}">
      <dgm:prSet/>
      <dgm:spPr/>
      <dgm:t>
        <a:bodyPr/>
        <a:lstStyle/>
        <a:p>
          <a:endParaRPr lang="en-IN"/>
        </a:p>
      </dgm:t>
    </dgm:pt>
    <dgm:pt modelId="{80956050-DCF2-43EA-818E-E0319F082AE1}" type="sibTrans" cxnId="{FFF3D0D0-1744-4D2A-9351-B2905072DCC0}">
      <dgm:prSet/>
      <dgm:spPr/>
      <dgm:t>
        <a:bodyPr/>
        <a:lstStyle/>
        <a:p>
          <a:endParaRPr lang="en-IN"/>
        </a:p>
      </dgm:t>
    </dgm:pt>
    <dgm:pt modelId="{BB573D9A-D212-42B3-BFAA-23814FAB75C6}">
      <dgm:prSet phldrT="[Text]"/>
      <dgm:spPr/>
      <dgm:t>
        <a:bodyPr/>
        <a:lstStyle/>
        <a:p>
          <a:r>
            <a:rPr lang="en-US" dirty="0"/>
            <a:t>R&amp;D +ADL </a:t>
          </a:r>
          <a:endParaRPr lang="en-IN" dirty="0"/>
        </a:p>
      </dgm:t>
    </dgm:pt>
    <dgm:pt modelId="{AF0DAD00-AA67-499C-AC26-916ED7B74718}" type="parTrans" cxnId="{7331F7A0-D4A8-463E-BD3A-0EE13CF4ECBE}">
      <dgm:prSet/>
      <dgm:spPr/>
      <dgm:t>
        <a:bodyPr/>
        <a:lstStyle/>
        <a:p>
          <a:endParaRPr lang="en-IN"/>
        </a:p>
      </dgm:t>
    </dgm:pt>
    <dgm:pt modelId="{5A8543C2-7998-4F59-87AC-4F87FCD15777}" type="sibTrans" cxnId="{7331F7A0-D4A8-463E-BD3A-0EE13CF4ECBE}">
      <dgm:prSet/>
      <dgm:spPr/>
      <dgm:t>
        <a:bodyPr/>
        <a:lstStyle/>
        <a:p>
          <a:endParaRPr lang="en-IN"/>
        </a:p>
      </dgm:t>
    </dgm:pt>
    <dgm:pt modelId="{950A03E8-8EF8-445A-83AB-D8132A0D1570}">
      <dgm:prSet phldrT="[Text]"/>
      <dgm:spPr/>
      <dgm:t>
        <a:bodyPr/>
        <a:lstStyle/>
        <a:p>
          <a:r>
            <a:rPr lang="en-US" dirty="0"/>
            <a:t>73 nos.</a:t>
          </a:r>
          <a:endParaRPr lang="en-IN" dirty="0"/>
        </a:p>
      </dgm:t>
    </dgm:pt>
    <dgm:pt modelId="{F3CECF9C-09B0-49EB-B53C-87DAD9C53BA1}" type="parTrans" cxnId="{5DFD37E8-0BE7-4DE5-8AAC-8F5EC0DF275D}">
      <dgm:prSet/>
      <dgm:spPr/>
      <dgm:t>
        <a:bodyPr/>
        <a:lstStyle/>
        <a:p>
          <a:endParaRPr lang="en-IN"/>
        </a:p>
      </dgm:t>
    </dgm:pt>
    <dgm:pt modelId="{386268A3-9853-459E-8699-914792B4248A}" type="sibTrans" cxnId="{5DFD37E8-0BE7-4DE5-8AAC-8F5EC0DF275D}">
      <dgm:prSet/>
      <dgm:spPr/>
      <dgm:t>
        <a:bodyPr/>
        <a:lstStyle/>
        <a:p>
          <a:endParaRPr lang="en-IN"/>
        </a:p>
      </dgm:t>
    </dgm:pt>
    <dgm:pt modelId="{CBAB2DE0-A157-4646-AF6D-8E4A0B709F29}" type="pres">
      <dgm:prSet presAssocID="{D19C2EF5-7420-4125-B7D4-3ED54E10A005}" presName="Name0" presStyleCnt="0">
        <dgm:presLayoutVars>
          <dgm:dir/>
          <dgm:animLvl val="lvl"/>
          <dgm:resizeHandles val="exact"/>
        </dgm:presLayoutVars>
      </dgm:prSet>
      <dgm:spPr/>
    </dgm:pt>
    <dgm:pt modelId="{9352C823-133E-4F6C-BB1F-BAC7CA9C94BC}" type="pres">
      <dgm:prSet presAssocID="{4913B9DC-0FFD-4336-8711-EE1F009D602F}" presName="linNode" presStyleCnt="0"/>
      <dgm:spPr/>
    </dgm:pt>
    <dgm:pt modelId="{4EA03068-A3C1-4FC9-856B-BDE37F93EBD9}" type="pres">
      <dgm:prSet presAssocID="{4913B9DC-0FFD-4336-8711-EE1F009D602F}" presName="parentText" presStyleLbl="node1" presStyleIdx="0" presStyleCnt="8">
        <dgm:presLayoutVars>
          <dgm:chMax val="1"/>
          <dgm:bulletEnabled val="1"/>
        </dgm:presLayoutVars>
      </dgm:prSet>
      <dgm:spPr/>
    </dgm:pt>
    <dgm:pt modelId="{3E13BDE3-72E2-42B6-BAC5-EEC553707583}" type="pres">
      <dgm:prSet presAssocID="{4913B9DC-0FFD-4336-8711-EE1F009D602F}" presName="descendantText" presStyleLbl="alignAccFollowNode1" presStyleIdx="0" presStyleCnt="8">
        <dgm:presLayoutVars>
          <dgm:bulletEnabled val="1"/>
        </dgm:presLayoutVars>
      </dgm:prSet>
      <dgm:spPr/>
    </dgm:pt>
    <dgm:pt modelId="{10FC7FEA-A5ED-4ED9-B3D4-F33C81ABCF00}" type="pres">
      <dgm:prSet presAssocID="{CA0C4BAF-4ED8-4359-B8D9-60F2CEEBAD00}" presName="sp" presStyleCnt="0"/>
      <dgm:spPr/>
    </dgm:pt>
    <dgm:pt modelId="{27E2CAB3-13FE-4D9D-AA15-0AA26D9AB765}" type="pres">
      <dgm:prSet presAssocID="{06C11A37-2FF4-4F71-BD54-EE295FD2A26A}" presName="linNode" presStyleCnt="0"/>
      <dgm:spPr/>
    </dgm:pt>
    <dgm:pt modelId="{0AFD1FC5-EC4E-430B-95F5-05C5F1FFF12E}" type="pres">
      <dgm:prSet presAssocID="{06C11A37-2FF4-4F71-BD54-EE295FD2A26A}" presName="parentText" presStyleLbl="node1" presStyleIdx="1" presStyleCnt="8">
        <dgm:presLayoutVars>
          <dgm:chMax val="1"/>
          <dgm:bulletEnabled val="1"/>
        </dgm:presLayoutVars>
      </dgm:prSet>
      <dgm:spPr/>
    </dgm:pt>
    <dgm:pt modelId="{89C54003-F729-41F2-891C-9B135635F394}" type="pres">
      <dgm:prSet presAssocID="{06C11A37-2FF4-4F71-BD54-EE295FD2A26A}" presName="descendantText" presStyleLbl="alignAccFollowNode1" presStyleIdx="1" presStyleCnt="8">
        <dgm:presLayoutVars>
          <dgm:bulletEnabled val="1"/>
        </dgm:presLayoutVars>
      </dgm:prSet>
      <dgm:spPr/>
    </dgm:pt>
    <dgm:pt modelId="{92EB0008-D77C-477D-A7EF-06EF0B33A8C1}" type="pres">
      <dgm:prSet presAssocID="{7B67EF7A-C77B-44FA-B4EF-58DF4E0B2CB4}" presName="sp" presStyleCnt="0"/>
      <dgm:spPr/>
    </dgm:pt>
    <dgm:pt modelId="{D8E2C634-02E0-4916-B3DA-31FC9010CECC}" type="pres">
      <dgm:prSet presAssocID="{B5D894D9-2710-492B-9513-194EEB60E91C}" presName="linNode" presStyleCnt="0"/>
      <dgm:spPr/>
    </dgm:pt>
    <dgm:pt modelId="{4F2594AE-9B11-4A28-9484-212591D86D3E}" type="pres">
      <dgm:prSet presAssocID="{B5D894D9-2710-492B-9513-194EEB60E91C}" presName="parentText" presStyleLbl="node1" presStyleIdx="2" presStyleCnt="8">
        <dgm:presLayoutVars>
          <dgm:chMax val="1"/>
          <dgm:bulletEnabled val="1"/>
        </dgm:presLayoutVars>
      </dgm:prSet>
      <dgm:spPr/>
    </dgm:pt>
    <dgm:pt modelId="{751ABCCF-60A4-42BC-B4CA-7A847DE492AF}" type="pres">
      <dgm:prSet presAssocID="{B5D894D9-2710-492B-9513-194EEB60E91C}" presName="descendantText" presStyleLbl="alignAccFollowNode1" presStyleIdx="2" presStyleCnt="8">
        <dgm:presLayoutVars>
          <dgm:bulletEnabled val="1"/>
        </dgm:presLayoutVars>
      </dgm:prSet>
      <dgm:spPr/>
    </dgm:pt>
    <dgm:pt modelId="{C9F3A49A-7DAC-41B1-8F1B-2B53FECCFB70}" type="pres">
      <dgm:prSet presAssocID="{77A63F27-71EA-4757-8813-922083579E89}" presName="sp" presStyleCnt="0"/>
      <dgm:spPr/>
    </dgm:pt>
    <dgm:pt modelId="{93093550-4530-41A3-9A23-50C8B9043BE7}" type="pres">
      <dgm:prSet presAssocID="{7E569EEE-4F89-45DE-989D-E3FF1B8AD382}" presName="linNode" presStyleCnt="0"/>
      <dgm:spPr/>
    </dgm:pt>
    <dgm:pt modelId="{8C0D55CF-465D-46F3-8712-CA64D7075E2C}" type="pres">
      <dgm:prSet presAssocID="{7E569EEE-4F89-45DE-989D-E3FF1B8AD382}" presName="parentText" presStyleLbl="node1" presStyleIdx="3" presStyleCnt="8">
        <dgm:presLayoutVars>
          <dgm:chMax val="1"/>
          <dgm:bulletEnabled val="1"/>
        </dgm:presLayoutVars>
      </dgm:prSet>
      <dgm:spPr/>
    </dgm:pt>
    <dgm:pt modelId="{8038A76B-8073-4C8E-A7E7-AAD57AF6E3A6}" type="pres">
      <dgm:prSet presAssocID="{7E569EEE-4F89-45DE-989D-E3FF1B8AD382}" presName="descendantText" presStyleLbl="alignAccFollowNode1" presStyleIdx="3" presStyleCnt="8">
        <dgm:presLayoutVars>
          <dgm:bulletEnabled val="1"/>
        </dgm:presLayoutVars>
      </dgm:prSet>
      <dgm:spPr/>
    </dgm:pt>
    <dgm:pt modelId="{CCCF7440-86BD-4A5E-945B-75018AF4268E}" type="pres">
      <dgm:prSet presAssocID="{D5919C8E-B31A-49C8-A9D5-3B2C82EAF1C9}" presName="sp" presStyleCnt="0"/>
      <dgm:spPr/>
    </dgm:pt>
    <dgm:pt modelId="{313A6E8D-5CD4-426E-946A-0C50C91735F1}" type="pres">
      <dgm:prSet presAssocID="{BB573D9A-D212-42B3-BFAA-23814FAB75C6}" presName="linNode" presStyleCnt="0"/>
      <dgm:spPr/>
    </dgm:pt>
    <dgm:pt modelId="{88BCD58F-4711-4142-A616-F8181C1BD3C7}" type="pres">
      <dgm:prSet presAssocID="{BB573D9A-D212-42B3-BFAA-23814FAB75C6}" presName="parentText" presStyleLbl="node1" presStyleIdx="4" presStyleCnt="8">
        <dgm:presLayoutVars>
          <dgm:chMax val="1"/>
          <dgm:bulletEnabled val="1"/>
        </dgm:presLayoutVars>
      </dgm:prSet>
      <dgm:spPr/>
    </dgm:pt>
    <dgm:pt modelId="{99C1FABA-ED20-4894-8400-44A5DA3D0C90}" type="pres">
      <dgm:prSet presAssocID="{BB573D9A-D212-42B3-BFAA-23814FAB75C6}" presName="descendantText" presStyleLbl="alignAccFollowNode1" presStyleIdx="4" presStyleCnt="8">
        <dgm:presLayoutVars>
          <dgm:bulletEnabled val="1"/>
        </dgm:presLayoutVars>
      </dgm:prSet>
      <dgm:spPr/>
    </dgm:pt>
    <dgm:pt modelId="{4B29FA2E-10D7-40BA-B95A-215C83CA488B}" type="pres">
      <dgm:prSet presAssocID="{5A8543C2-7998-4F59-87AC-4F87FCD15777}" presName="sp" presStyleCnt="0"/>
      <dgm:spPr/>
    </dgm:pt>
    <dgm:pt modelId="{A572F2CD-AC1C-448D-8469-030D9130973D}" type="pres">
      <dgm:prSet presAssocID="{2AE37B69-949A-4CD0-9199-6F464BECAF07}" presName="linNode" presStyleCnt="0"/>
      <dgm:spPr/>
    </dgm:pt>
    <dgm:pt modelId="{9B5E2344-4931-4326-B91E-CC8CA2E59952}" type="pres">
      <dgm:prSet presAssocID="{2AE37B69-949A-4CD0-9199-6F464BECAF07}" presName="parentText" presStyleLbl="node1" presStyleIdx="5" presStyleCnt="8">
        <dgm:presLayoutVars>
          <dgm:chMax val="1"/>
          <dgm:bulletEnabled val="1"/>
        </dgm:presLayoutVars>
      </dgm:prSet>
      <dgm:spPr/>
    </dgm:pt>
    <dgm:pt modelId="{828BBB99-A182-47C4-9F14-E0740C932157}" type="pres">
      <dgm:prSet presAssocID="{2AE37B69-949A-4CD0-9199-6F464BECAF07}" presName="descendantText" presStyleLbl="alignAccFollowNode1" presStyleIdx="5" presStyleCnt="8">
        <dgm:presLayoutVars>
          <dgm:bulletEnabled val="1"/>
        </dgm:presLayoutVars>
      </dgm:prSet>
      <dgm:spPr/>
    </dgm:pt>
    <dgm:pt modelId="{34DEED1B-44DB-4675-8B84-25CFC2F72D35}" type="pres">
      <dgm:prSet presAssocID="{B2DC0857-9465-45D4-831C-F2BAC6074C6D}" presName="sp" presStyleCnt="0"/>
      <dgm:spPr/>
    </dgm:pt>
    <dgm:pt modelId="{064E4185-8E7A-44FA-9C0C-5A6E6C12D494}" type="pres">
      <dgm:prSet presAssocID="{7E7EA24C-66EE-41D4-AB08-A8639E4FDDC1}" presName="linNode" presStyleCnt="0"/>
      <dgm:spPr/>
    </dgm:pt>
    <dgm:pt modelId="{9EB1674F-8DA0-418A-97F9-867D995592E9}" type="pres">
      <dgm:prSet presAssocID="{7E7EA24C-66EE-41D4-AB08-A8639E4FDDC1}" presName="parentText" presStyleLbl="node1" presStyleIdx="6" presStyleCnt="8">
        <dgm:presLayoutVars>
          <dgm:chMax val="1"/>
          <dgm:bulletEnabled val="1"/>
        </dgm:presLayoutVars>
      </dgm:prSet>
      <dgm:spPr/>
    </dgm:pt>
    <dgm:pt modelId="{E953C938-7A06-4717-AA01-7FB9A1E54091}" type="pres">
      <dgm:prSet presAssocID="{7E7EA24C-66EE-41D4-AB08-A8639E4FDDC1}" presName="descendantText" presStyleLbl="alignAccFollowNode1" presStyleIdx="6" presStyleCnt="8">
        <dgm:presLayoutVars>
          <dgm:bulletEnabled val="1"/>
        </dgm:presLayoutVars>
      </dgm:prSet>
      <dgm:spPr/>
    </dgm:pt>
    <dgm:pt modelId="{56D3B0BD-521A-48BE-9288-C46AB451034C}" type="pres">
      <dgm:prSet presAssocID="{AD497E4F-4E74-4B9F-ADD4-097D006A3AC7}" presName="sp" presStyleCnt="0"/>
      <dgm:spPr/>
    </dgm:pt>
    <dgm:pt modelId="{D0DB7BB0-7D7C-401E-ACCA-02E675144509}" type="pres">
      <dgm:prSet presAssocID="{2ECAE5FA-129D-4F66-87BC-A432FFD46259}" presName="linNode" presStyleCnt="0"/>
      <dgm:spPr/>
    </dgm:pt>
    <dgm:pt modelId="{08158AE9-45F9-410B-B1EA-BB4336695B8B}" type="pres">
      <dgm:prSet presAssocID="{2ECAE5FA-129D-4F66-87BC-A432FFD46259}" presName="parentText" presStyleLbl="node1" presStyleIdx="7" presStyleCnt="8">
        <dgm:presLayoutVars>
          <dgm:chMax val="1"/>
          <dgm:bulletEnabled val="1"/>
        </dgm:presLayoutVars>
      </dgm:prSet>
      <dgm:spPr/>
    </dgm:pt>
    <dgm:pt modelId="{EC007B54-A60E-4B31-90B7-2AF7DDBCC475}" type="pres">
      <dgm:prSet presAssocID="{2ECAE5FA-129D-4F66-87BC-A432FFD46259}" presName="descendantText" presStyleLbl="alignAccFollowNode1" presStyleIdx="7" presStyleCnt="8">
        <dgm:presLayoutVars>
          <dgm:bulletEnabled val="1"/>
        </dgm:presLayoutVars>
      </dgm:prSet>
      <dgm:spPr/>
    </dgm:pt>
  </dgm:ptLst>
  <dgm:cxnLst>
    <dgm:cxn modelId="{1E144A04-A362-4C09-B4A5-DFD84D1E6433}" type="presOf" srcId="{4C3A2B4D-5256-4CF6-9D6C-AD8B73DDAE8A}" destId="{828BBB99-A182-47C4-9F14-E0740C932157}" srcOrd="0" destOrd="0" presId="urn:microsoft.com/office/officeart/2005/8/layout/vList5"/>
    <dgm:cxn modelId="{3609A607-AD11-4B9A-8609-C6D9F8BC95C1}" srcId="{4913B9DC-0FFD-4336-8711-EE1F009D602F}" destId="{299284B4-3784-4447-8DB2-4089844221B9}" srcOrd="0" destOrd="0" parTransId="{0A6CF31D-3D75-49F4-B56C-416CD7D3BF56}" sibTransId="{AF3CE939-96C1-44BA-86F3-F4B9B7C5F991}"/>
    <dgm:cxn modelId="{BAAC590E-3D5E-4B48-AEDD-C1387F577B88}" type="presOf" srcId="{950A03E8-8EF8-445A-83AB-D8132A0D1570}" destId="{99C1FABA-ED20-4894-8400-44A5DA3D0C90}" srcOrd="0" destOrd="0" presId="urn:microsoft.com/office/officeart/2005/8/layout/vList5"/>
    <dgm:cxn modelId="{7AA88610-AFD0-403D-A56B-E03C568970F7}" type="presOf" srcId="{C2D93526-E504-42E9-B6D1-BAE59FA3E4B3}" destId="{751ABCCF-60A4-42BC-B4CA-7A847DE492AF}" srcOrd="0" destOrd="0" presId="urn:microsoft.com/office/officeart/2005/8/layout/vList5"/>
    <dgm:cxn modelId="{DD151D13-4721-41EB-8C1C-9CAC4A7ACD94}" type="presOf" srcId="{BB573D9A-D212-42B3-BFAA-23814FAB75C6}" destId="{88BCD58F-4711-4142-A616-F8181C1BD3C7}" srcOrd="0" destOrd="0" presId="urn:microsoft.com/office/officeart/2005/8/layout/vList5"/>
    <dgm:cxn modelId="{1CAE2918-1644-4E45-AB99-7AC6579DECCA}" type="presOf" srcId="{299284B4-3784-4447-8DB2-4089844221B9}" destId="{3E13BDE3-72E2-42B6-BAC5-EEC553707583}" srcOrd="0" destOrd="0" presId="urn:microsoft.com/office/officeart/2005/8/layout/vList5"/>
    <dgm:cxn modelId="{F5F1B81D-34D0-4F34-955C-8A0A415B275A}" type="presOf" srcId="{7E7EA24C-66EE-41D4-AB08-A8639E4FDDC1}" destId="{9EB1674F-8DA0-418A-97F9-867D995592E9}" srcOrd="0" destOrd="0" presId="urn:microsoft.com/office/officeart/2005/8/layout/vList5"/>
    <dgm:cxn modelId="{054B981E-509A-4BBD-90AF-CBEDEBA9618D}" srcId="{D19C2EF5-7420-4125-B7D4-3ED54E10A005}" destId="{06C11A37-2FF4-4F71-BD54-EE295FD2A26A}" srcOrd="1" destOrd="0" parTransId="{C56F3243-BD20-4F37-B6B0-05FCE7637EA8}" sibTransId="{7B67EF7A-C77B-44FA-B4EF-58DF4E0B2CB4}"/>
    <dgm:cxn modelId="{5273B335-2966-4532-9C6C-48D0BB305608}" srcId="{7E7EA24C-66EE-41D4-AB08-A8639E4FDDC1}" destId="{2B05A923-9DA4-4610-A0EA-8C162A2BCDE9}" srcOrd="0" destOrd="0" parTransId="{1C895DC5-114F-4019-9C0F-ADF9567C680F}" sibTransId="{09299E15-4632-444A-80CC-3436CD271629}"/>
    <dgm:cxn modelId="{F4592C3C-B72F-4897-A587-84AA16F920B9}" type="presOf" srcId="{AD5D18C0-F0D4-49D2-BB8A-95CF9A7BB556}" destId="{EC007B54-A60E-4B31-90B7-2AF7DDBCC475}" srcOrd="0" destOrd="0" presId="urn:microsoft.com/office/officeart/2005/8/layout/vList5"/>
    <dgm:cxn modelId="{EAE47E3C-EDE1-4F43-B0B6-8753A52C5F79}" srcId="{D19C2EF5-7420-4125-B7D4-3ED54E10A005}" destId="{2AE37B69-949A-4CD0-9199-6F464BECAF07}" srcOrd="5" destOrd="0" parTransId="{499AE446-A523-473F-83E6-F6DD0052F14A}" sibTransId="{B2DC0857-9465-45D4-831C-F2BAC6074C6D}"/>
    <dgm:cxn modelId="{E2192C3D-1077-4891-83CC-5E36F28352EA}" type="presOf" srcId="{A9305F46-CD9C-4A29-A039-4C4FE9F5F6F1}" destId="{89C54003-F729-41F2-891C-9B135635F394}" srcOrd="0" destOrd="0" presId="urn:microsoft.com/office/officeart/2005/8/layout/vList5"/>
    <dgm:cxn modelId="{BC7CE06A-52D2-47FA-A9B3-4491FAB9F672}" type="presOf" srcId="{2ECAE5FA-129D-4F66-87BC-A432FFD46259}" destId="{08158AE9-45F9-410B-B1EA-BB4336695B8B}" srcOrd="0" destOrd="0" presId="urn:microsoft.com/office/officeart/2005/8/layout/vList5"/>
    <dgm:cxn modelId="{07133F74-1B9A-4C9F-9E71-D826165EFD46}" srcId="{D19C2EF5-7420-4125-B7D4-3ED54E10A005}" destId="{7E7EA24C-66EE-41D4-AB08-A8639E4FDDC1}" srcOrd="6" destOrd="0" parTransId="{8E06B3D4-17ED-4F69-9DE0-CE319DDF62FF}" sibTransId="{AD497E4F-4E74-4B9F-ADD4-097D006A3AC7}"/>
    <dgm:cxn modelId="{F23E4355-0FFA-4868-9705-2D4BE6A77015}" type="presOf" srcId="{06C11A37-2FF4-4F71-BD54-EE295FD2A26A}" destId="{0AFD1FC5-EC4E-430B-95F5-05C5F1FFF12E}" srcOrd="0" destOrd="0" presId="urn:microsoft.com/office/officeart/2005/8/layout/vList5"/>
    <dgm:cxn modelId="{BDD4E575-1E08-4B90-9731-0E0908EDEC2E}" srcId="{B5D894D9-2710-492B-9513-194EEB60E91C}" destId="{C2D93526-E504-42E9-B6D1-BAE59FA3E4B3}" srcOrd="0" destOrd="0" parTransId="{F853EA86-B7B3-4ACE-9C9F-9A7B54D2B7D7}" sibTransId="{0C3E55A9-0E3D-4142-9DFD-AF21AA248BED}"/>
    <dgm:cxn modelId="{7331F7A0-D4A8-463E-BD3A-0EE13CF4ECBE}" srcId="{D19C2EF5-7420-4125-B7D4-3ED54E10A005}" destId="{BB573D9A-D212-42B3-BFAA-23814FAB75C6}" srcOrd="4" destOrd="0" parTransId="{AF0DAD00-AA67-499C-AC26-916ED7B74718}" sibTransId="{5A8543C2-7998-4F59-87AC-4F87FCD15777}"/>
    <dgm:cxn modelId="{CA39CBA2-CAE3-4155-8183-C29E05F00BE6}" type="presOf" srcId="{2B05A923-9DA4-4610-A0EA-8C162A2BCDE9}" destId="{E953C938-7A06-4717-AA01-7FB9A1E54091}" srcOrd="0" destOrd="0" presId="urn:microsoft.com/office/officeart/2005/8/layout/vList5"/>
    <dgm:cxn modelId="{8368E0A9-B6C0-4D5C-9BBD-1A1B91192FB4}" srcId="{D19C2EF5-7420-4125-B7D4-3ED54E10A005}" destId="{B5D894D9-2710-492B-9513-194EEB60E91C}" srcOrd="2" destOrd="0" parTransId="{DD7065C0-ACCD-4C4E-8128-1A58EF9192F9}" sibTransId="{77A63F27-71EA-4757-8813-922083579E89}"/>
    <dgm:cxn modelId="{62C31FAE-7359-45BC-981C-A247D2CBBF98}" srcId="{D19C2EF5-7420-4125-B7D4-3ED54E10A005}" destId="{7E569EEE-4F89-45DE-989D-E3FF1B8AD382}" srcOrd="3" destOrd="0" parTransId="{2AF0DD18-3444-4365-BD62-7FFA344580E7}" sibTransId="{D5919C8E-B31A-49C8-A9D5-3B2C82EAF1C9}"/>
    <dgm:cxn modelId="{7CD1EEB6-724A-4812-A003-D16CFD32F5EC}" type="presOf" srcId="{2AE37B69-949A-4CD0-9199-6F464BECAF07}" destId="{9B5E2344-4931-4326-B91E-CC8CA2E59952}" srcOrd="0" destOrd="0" presId="urn:microsoft.com/office/officeart/2005/8/layout/vList5"/>
    <dgm:cxn modelId="{BC88E7C1-87B1-4451-8120-404AEA22C4C2}" srcId="{7E569EEE-4F89-45DE-989D-E3FF1B8AD382}" destId="{DDA27534-092F-43D1-B297-B22332AEB6ED}" srcOrd="0" destOrd="0" parTransId="{9339201C-B1C4-4977-9E85-D1831C8EA100}" sibTransId="{CE0300BE-0654-42A8-87D3-D929B4BA6FAD}"/>
    <dgm:cxn modelId="{DE9B86C4-B7B7-42AC-907A-26A0F208ABE2}" srcId="{2ECAE5FA-129D-4F66-87BC-A432FFD46259}" destId="{AD5D18C0-F0D4-49D2-BB8A-95CF9A7BB556}" srcOrd="0" destOrd="0" parTransId="{6B58ECFC-1704-44FC-AEB3-70110785797A}" sibTransId="{0BD811A3-689A-4359-818B-F543B6C80785}"/>
    <dgm:cxn modelId="{A1A5ECCF-CB4B-4F8C-9E8D-E061F6216895}" type="presOf" srcId="{7E569EEE-4F89-45DE-989D-E3FF1B8AD382}" destId="{8C0D55CF-465D-46F3-8712-CA64D7075E2C}" srcOrd="0" destOrd="0" presId="urn:microsoft.com/office/officeart/2005/8/layout/vList5"/>
    <dgm:cxn modelId="{FFF3D0D0-1744-4D2A-9351-B2905072DCC0}" srcId="{D19C2EF5-7420-4125-B7D4-3ED54E10A005}" destId="{2ECAE5FA-129D-4F66-87BC-A432FFD46259}" srcOrd="7" destOrd="0" parTransId="{130C257A-1F21-44C5-B1D8-E5FD5CAFA401}" sibTransId="{80956050-DCF2-43EA-818E-E0319F082AE1}"/>
    <dgm:cxn modelId="{7E1B82D2-7188-4429-B310-70B4B691299D}" type="presOf" srcId="{4913B9DC-0FFD-4336-8711-EE1F009D602F}" destId="{4EA03068-A3C1-4FC9-856B-BDE37F93EBD9}" srcOrd="0" destOrd="0" presId="urn:microsoft.com/office/officeart/2005/8/layout/vList5"/>
    <dgm:cxn modelId="{D05AF4D4-6467-40FB-9987-8624B4D2709F}" type="presOf" srcId="{D19C2EF5-7420-4125-B7D4-3ED54E10A005}" destId="{CBAB2DE0-A157-4646-AF6D-8E4A0B709F29}" srcOrd="0" destOrd="0" presId="urn:microsoft.com/office/officeart/2005/8/layout/vList5"/>
    <dgm:cxn modelId="{F4222EDC-2D33-456F-8AF6-B6208A8DB5DA}" srcId="{D19C2EF5-7420-4125-B7D4-3ED54E10A005}" destId="{4913B9DC-0FFD-4336-8711-EE1F009D602F}" srcOrd="0" destOrd="0" parTransId="{E174EE87-FF04-4E5F-8168-463986D2BC95}" sibTransId="{CA0C4BAF-4ED8-4359-B8D9-60F2CEEBAD00}"/>
    <dgm:cxn modelId="{6A4960DE-2AE6-443B-848A-D1A637B34A6E}" srcId="{2AE37B69-949A-4CD0-9199-6F464BECAF07}" destId="{4C3A2B4D-5256-4CF6-9D6C-AD8B73DDAE8A}" srcOrd="0" destOrd="0" parTransId="{9A51343F-71F4-4725-9B5B-7E791B3E3B13}" sibTransId="{0C966E87-7A02-40AA-AC57-44F5CC2BE87C}"/>
    <dgm:cxn modelId="{090791E0-0EEA-4918-88D6-37923877FA90}" srcId="{06C11A37-2FF4-4F71-BD54-EE295FD2A26A}" destId="{A9305F46-CD9C-4A29-A039-4C4FE9F5F6F1}" srcOrd="0" destOrd="0" parTransId="{F22DB704-AF66-426B-B56C-929A1B0C8932}" sibTransId="{04BACB8E-6C81-46C4-A3DF-28D5361C735B}"/>
    <dgm:cxn modelId="{5DFD37E8-0BE7-4DE5-8AAC-8F5EC0DF275D}" srcId="{BB573D9A-D212-42B3-BFAA-23814FAB75C6}" destId="{950A03E8-8EF8-445A-83AB-D8132A0D1570}" srcOrd="0" destOrd="0" parTransId="{F3CECF9C-09B0-49EB-B53C-87DAD9C53BA1}" sibTransId="{386268A3-9853-459E-8699-914792B4248A}"/>
    <dgm:cxn modelId="{180A37EA-8052-4C39-B721-3768196789E2}" type="presOf" srcId="{B5D894D9-2710-492B-9513-194EEB60E91C}" destId="{4F2594AE-9B11-4A28-9484-212591D86D3E}" srcOrd="0" destOrd="0" presId="urn:microsoft.com/office/officeart/2005/8/layout/vList5"/>
    <dgm:cxn modelId="{5978D1F5-A0F2-412C-A4F4-475D7A0A869D}" type="presOf" srcId="{DDA27534-092F-43D1-B297-B22332AEB6ED}" destId="{8038A76B-8073-4C8E-A7E7-AAD57AF6E3A6}" srcOrd="0" destOrd="0" presId="urn:microsoft.com/office/officeart/2005/8/layout/vList5"/>
    <dgm:cxn modelId="{551417D2-E47D-445B-8B22-1C763772EE0E}" type="presParOf" srcId="{CBAB2DE0-A157-4646-AF6D-8E4A0B709F29}" destId="{9352C823-133E-4F6C-BB1F-BAC7CA9C94BC}" srcOrd="0" destOrd="0" presId="urn:microsoft.com/office/officeart/2005/8/layout/vList5"/>
    <dgm:cxn modelId="{EEC5F3C8-BE69-40A5-89EE-EB2BA030C19B}" type="presParOf" srcId="{9352C823-133E-4F6C-BB1F-BAC7CA9C94BC}" destId="{4EA03068-A3C1-4FC9-856B-BDE37F93EBD9}" srcOrd="0" destOrd="0" presId="urn:microsoft.com/office/officeart/2005/8/layout/vList5"/>
    <dgm:cxn modelId="{9EE4F3A4-D8E0-4ED2-83A0-270F49B64DF2}" type="presParOf" srcId="{9352C823-133E-4F6C-BB1F-BAC7CA9C94BC}" destId="{3E13BDE3-72E2-42B6-BAC5-EEC553707583}" srcOrd="1" destOrd="0" presId="urn:microsoft.com/office/officeart/2005/8/layout/vList5"/>
    <dgm:cxn modelId="{B09020F8-6B8D-40A8-8486-C2B03E1F2492}" type="presParOf" srcId="{CBAB2DE0-A157-4646-AF6D-8E4A0B709F29}" destId="{10FC7FEA-A5ED-4ED9-B3D4-F33C81ABCF00}" srcOrd="1" destOrd="0" presId="urn:microsoft.com/office/officeart/2005/8/layout/vList5"/>
    <dgm:cxn modelId="{562BFCF5-6E20-4011-B717-D23468B4B923}" type="presParOf" srcId="{CBAB2DE0-A157-4646-AF6D-8E4A0B709F29}" destId="{27E2CAB3-13FE-4D9D-AA15-0AA26D9AB765}" srcOrd="2" destOrd="0" presId="urn:microsoft.com/office/officeart/2005/8/layout/vList5"/>
    <dgm:cxn modelId="{303BBBBB-0E78-46C7-A384-5CB220BBF93E}" type="presParOf" srcId="{27E2CAB3-13FE-4D9D-AA15-0AA26D9AB765}" destId="{0AFD1FC5-EC4E-430B-95F5-05C5F1FFF12E}" srcOrd="0" destOrd="0" presId="urn:microsoft.com/office/officeart/2005/8/layout/vList5"/>
    <dgm:cxn modelId="{61EEEE1D-49AB-4D22-B1BF-505E84D15CB4}" type="presParOf" srcId="{27E2CAB3-13FE-4D9D-AA15-0AA26D9AB765}" destId="{89C54003-F729-41F2-891C-9B135635F394}" srcOrd="1" destOrd="0" presId="urn:microsoft.com/office/officeart/2005/8/layout/vList5"/>
    <dgm:cxn modelId="{DCA17D15-3AFF-4012-9621-CF00ABF17EBC}" type="presParOf" srcId="{CBAB2DE0-A157-4646-AF6D-8E4A0B709F29}" destId="{92EB0008-D77C-477D-A7EF-06EF0B33A8C1}" srcOrd="3" destOrd="0" presId="urn:microsoft.com/office/officeart/2005/8/layout/vList5"/>
    <dgm:cxn modelId="{93FBEF94-0404-4630-8CD5-07345DD1854C}" type="presParOf" srcId="{CBAB2DE0-A157-4646-AF6D-8E4A0B709F29}" destId="{D8E2C634-02E0-4916-B3DA-31FC9010CECC}" srcOrd="4" destOrd="0" presId="urn:microsoft.com/office/officeart/2005/8/layout/vList5"/>
    <dgm:cxn modelId="{D9C48E96-AFF1-44D2-AE6A-08C00C30BBFC}" type="presParOf" srcId="{D8E2C634-02E0-4916-B3DA-31FC9010CECC}" destId="{4F2594AE-9B11-4A28-9484-212591D86D3E}" srcOrd="0" destOrd="0" presId="urn:microsoft.com/office/officeart/2005/8/layout/vList5"/>
    <dgm:cxn modelId="{D488B2E3-AB52-43EB-B06F-AB8C94828585}" type="presParOf" srcId="{D8E2C634-02E0-4916-B3DA-31FC9010CECC}" destId="{751ABCCF-60A4-42BC-B4CA-7A847DE492AF}" srcOrd="1" destOrd="0" presId="urn:microsoft.com/office/officeart/2005/8/layout/vList5"/>
    <dgm:cxn modelId="{57B28729-D729-4DEA-9BA9-529298CA1D0E}" type="presParOf" srcId="{CBAB2DE0-A157-4646-AF6D-8E4A0B709F29}" destId="{C9F3A49A-7DAC-41B1-8F1B-2B53FECCFB70}" srcOrd="5" destOrd="0" presId="urn:microsoft.com/office/officeart/2005/8/layout/vList5"/>
    <dgm:cxn modelId="{7B0F8994-5E39-45AD-80D4-EB3EAD374774}" type="presParOf" srcId="{CBAB2DE0-A157-4646-AF6D-8E4A0B709F29}" destId="{93093550-4530-41A3-9A23-50C8B9043BE7}" srcOrd="6" destOrd="0" presId="urn:microsoft.com/office/officeart/2005/8/layout/vList5"/>
    <dgm:cxn modelId="{6E4C1286-BAF1-4FF9-9C11-FA6952A7036F}" type="presParOf" srcId="{93093550-4530-41A3-9A23-50C8B9043BE7}" destId="{8C0D55CF-465D-46F3-8712-CA64D7075E2C}" srcOrd="0" destOrd="0" presId="urn:microsoft.com/office/officeart/2005/8/layout/vList5"/>
    <dgm:cxn modelId="{8FF1D32B-69EE-4E38-88C8-E3D81DE1AF33}" type="presParOf" srcId="{93093550-4530-41A3-9A23-50C8B9043BE7}" destId="{8038A76B-8073-4C8E-A7E7-AAD57AF6E3A6}" srcOrd="1" destOrd="0" presId="urn:microsoft.com/office/officeart/2005/8/layout/vList5"/>
    <dgm:cxn modelId="{02116EC6-30FB-4E1D-BD00-2E3C1A12DE64}" type="presParOf" srcId="{CBAB2DE0-A157-4646-AF6D-8E4A0B709F29}" destId="{CCCF7440-86BD-4A5E-945B-75018AF4268E}" srcOrd="7" destOrd="0" presId="urn:microsoft.com/office/officeart/2005/8/layout/vList5"/>
    <dgm:cxn modelId="{0627121C-9E48-4317-A118-53BE1FF552C1}" type="presParOf" srcId="{CBAB2DE0-A157-4646-AF6D-8E4A0B709F29}" destId="{313A6E8D-5CD4-426E-946A-0C50C91735F1}" srcOrd="8" destOrd="0" presId="urn:microsoft.com/office/officeart/2005/8/layout/vList5"/>
    <dgm:cxn modelId="{5CE86848-B93D-4FA0-AFF7-A8E9D7DA2E83}" type="presParOf" srcId="{313A6E8D-5CD4-426E-946A-0C50C91735F1}" destId="{88BCD58F-4711-4142-A616-F8181C1BD3C7}" srcOrd="0" destOrd="0" presId="urn:microsoft.com/office/officeart/2005/8/layout/vList5"/>
    <dgm:cxn modelId="{64C0552A-8416-4A76-A2F1-1A5522E6E225}" type="presParOf" srcId="{313A6E8D-5CD4-426E-946A-0C50C91735F1}" destId="{99C1FABA-ED20-4894-8400-44A5DA3D0C90}" srcOrd="1" destOrd="0" presId="urn:microsoft.com/office/officeart/2005/8/layout/vList5"/>
    <dgm:cxn modelId="{89CCD716-9396-473C-BAD3-6B5F5737C424}" type="presParOf" srcId="{CBAB2DE0-A157-4646-AF6D-8E4A0B709F29}" destId="{4B29FA2E-10D7-40BA-B95A-215C83CA488B}" srcOrd="9" destOrd="0" presId="urn:microsoft.com/office/officeart/2005/8/layout/vList5"/>
    <dgm:cxn modelId="{4625AA9E-7B91-4CFB-9B9A-111207BF7F0C}" type="presParOf" srcId="{CBAB2DE0-A157-4646-AF6D-8E4A0B709F29}" destId="{A572F2CD-AC1C-448D-8469-030D9130973D}" srcOrd="10" destOrd="0" presId="urn:microsoft.com/office/officeart/2005/8/layout/vList5"/>
    <dgm:cxn modelId="{FBB20BFA-DB5C-49BD-B81E-E2D99D5BDE6A}" type="presParOf" srcId="{A572F2CD-AC1C-448D-8469-030D9130973D}" destId="{9B5E2344-4931-4326-B91E-CC8CA2E59952}" srcOrd="0" destOrd="0" presId="urn:microsoft.com/office/officeart/2005/8/layout/vList5"/>
    <dgm:cxn modelId="{6B2B5432-E196-4069-AE0E-D92E9C0F1A3C}" type="presParOf" srcId="{A572F2CD-AC1C-448D-8469-030D9130973D}" destId="{828BBB99-A182-47C4-9F14-E0740C932157}" srcOrd="1" destOrd="0" presId="urn:microsoft.com/office/officeart/2005/8/layout/vList5"/>
    <dgm:cxn modelId="{D8BD3F3C-6895-443C-A51C-1010584CE235}" type="presParOf" srcId="{CBAB2DE0-A157-4646-AF6D-8E4A0B709F29}" destId="{34DEED1B-44DB-4675-8B84-25CFC2F72D35}" srcOrd="11" destOrd="0" presId="urn:microsoft.com/office/officeart/2005/8/layout/vList5"/>
    <dgm:cxn modelId="{8290642F-F7BD-4AF6-8486-70C19E18CA4A}" type="presParOf" srcId="{CBAB2DE0-A157-4646-AF6D-8E4A0B709F29}" destId="{064E4185-8E7A-44FA-9C0C-5A6E6C12D494}" srcOrd="12" destOrd="0" presId="urn:microsoft.com/office/officeart/2005/8/layout/vList5"/>
    <dgm:cxn modelId="{3AEC1549-EEE5-435D-B7FE-850660CD8755}" type="presParOf" srcId="{064E4185-8E7A-44FA-9C0C-5A6E6C12D494}" destId="{9EB1674F-8DA0-418A-97F9-867D995592E9}" srcOrd="0" destOrd="0" presId="urn:microsoft.com/office/officeart/2005/8/layout/vList5"/>
    <dgm:cxn modelId="{564E6202-A70F-4BDC-AE29-928E25D5B736}" type="presParOf" srcId="{064E4185-8E7A-44FA-9C0C-5A6E6C12D494}" destId="{E953C938-7A06-4717-AA01-7FB9A1E54091}" srcOrd="1" destOrd="0" presId="urn:microsoft.com/office/officeart/2005/8/layout/vList5"/>
    <dgm:cxn modelId="{1741F699-F359-4FD9-90BC-985E8A327A76}" type="presParOf" srcId="{CBAB2DE0-A157-4646-AF6D-8E4A0B709F29}" destId="{56D3B0BD-521A-48BE-9288-C46AB451034C}" srcOrd="13" destOrd="0" presId="urn:microsoft.com/office/officeart/2005/8/layout/vList5"/>
    <dgm:cxn modelId="{F828D541-3110-4FD5-AB14-6D03C757B96C}" type="presParOf" srcId="{CBAB2DE0-A157-4646-AF6D-8E4A0B709F29}" destId="{D0DB7BB0-7D7C-401E-ACCA-02E675144509}" srcOrd="14" destOrd="0" presId="urn:microsoft.com/office/officeart/2005/8/layout/vList5"/>
    <dgm:cxn modelId="{CF0F5BDF-10CA-45E4-B208-1633C242491C}" type="presParOf" srcId="{D0DB7BB0-7D7C-401E-ACCA-02E675144509}" destId="{08158AE9-45F9-410B-B1EA-BB4336695B8B}" srcOrd="0" destOrd="0" presId="urn:microsoft.com/office/officeart/2005/8/layout/vList5"/>
    <dgm:cxn modelId="{F260984C-8131-4FB8-83E5-9F37C89D3DE6}" type="presParOf" srcId="{D0DB7BB0-7D7C-401E-ACCA-02E675144509}" destId="{EC007B54-A60E-4B31-90B7-2AF7DDBCC47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177FE2-E87C-410F-9424-EDA9101B6916}" type="doc">
      <dgm:prSet loTypeId="urn:microsoft.com/office/officeart/2008/layout/BendingPictureCaption" loCatId="picture" qsTypeId="urn:microsoft.com/office/officeart/2005/8/quickstyle/simple1" qsCatId="simple" csTypeId="urn:microsoft.com/office/officeart/2005/8/colors/accent1_2" csCatId="accent1" phldr="1"/>
      <dgm:spPr/>
      <dgm:t>
        <a:bodyPr/>
        <a:lstStyle/>
        <a:p>
          <a:endParaRPr lang="en-IN"/>
        </a:p>
      </dgm:t>
    </dgm:pt>
    <dgm:pt modelId="{92D71F7B-9E53-4694-9DBF-63472F15221F}">
      <dgm:prSet phldrT="[Text]"/>
      <dgm:spPr/>
      <dgm:t>
        <a:bodyPr/>
        <a:lstStyle/>
        <a:p>
          <a:r>
            <a:rPr lang="en-US" dirty="0"/>
            <a:t>Raw material entry </a:t>
          </a:r>
          <a:endParaRPr lang="en-IN" dirty="0"/>
        </a:p>
      </dgm:t>
    </dgm:pt>
    <dgm:pt modelId="{7FC949D0-0BB7-40A0-A650-33BBEB00D22A}" type="parTrans" cxnId="{D6EC6E1E-9B17-46A8-B048-EDB62E25D188}">
      <dgm:prSet/>
      <dgm:spPr/>
      <dgm:t>
        <a:bodyPr/>
        <a:lstStyle/>
        <a:p>
          <a:endParaRPr lang="en-IN"/>
        </a:p>
      </dgm:t>
    </dgm:pt>
    <dgm:pt modelId="{0D464863-EC01-41BF-838E-0DCBDE4DAC5D}" type="sibTrans" cxnId="{D6EC6E1E-9B17-46A8-B048-EDB62E25D188}">
      <dgm:prSet/>
      <dgm:spPr/>
      <dgm:t>
        <a:bodyPr/>
        <a:lstStyle/>
        <a:p>
          <a:endParaRPr lang="en-IN"/>
        </a:p>
      </dgm:t>
    </dgm:pt>
    <dgm:pt modelId="{291047B0-0C88-4FA2-95CD-59EB040103EC}">
      <dgm:prSet phldrT="[Text]"/>
      <dgm:spPr/>
      <dgm:t>
        <a:bodyPr/>
        <a:lstStyle/>
        <a:p>
          <a:r>
            <a:rPr lang="en-US" dirty="0"/>
            <a:t>Raw Material Sampling</a:t>
          </a:r>
          <a:endParaRPr lang="en-IN" dirty="0"/>
        </a:p>
      </dgm:t>
    </dgm:pt>
    <dgm:pt modelId="{39ED18C5-BE98-4E8D-A15B-74C7C9AE2B11}" type="parTrans" cxnId="{42DF16E5-F831-4FF8-AB1A-61F88558BBFE}">
      <dgm:prSet/>
      <dgm:spPr/>
      <dgm:t>
        <a:bodyPr/>
        <a:lstStyle/>
        <a:p>
          <a:endParaRPr lang="en-IN"/>
        </a:p>
      </dgm:t>
    </dgm:pt>
    <dgm:pt modelId="{CC13EDA1-4A43-41DF-BC28-CE310587C58C}" type="sibTrans" cxnId="{42DF16E5-F831-4FF8-AB1A-61F88558BBFE}">
      <dgm:prSet/>
      <dgm:spPr/>
      <dgm:t>
        <a:bodyPr/>
        <a:lstStyle/>
        <a:p>
          <a:endParaRPr lang="en-IN"/>
        </a:p>
      </dgm:t>
    </dgm:pt>
    <dgm:pt modelId="{66F290F2-756A-4DE1-83CB-B489E4B0F322}">
      <dgm:prSet phldrT="[Text]"/>
      <dgm:spPr/>
      <dgm:t>
        <a:bodyPr/>
        <a:lstStyle/>
        <a:p>
          <a:r>
            <a:rPr lang="en-US" dirty="0"/>
            <a:t>Raw Material Analysis </a:t>
          </a:r>
          <a:endParaRPr lang="en-IN" dirty="0"/>
        </a:p>
      </dgm:t>
    </dgm:pt>
    <dgm:pt modelId="{0FC12659-C81A-4D97-8079-778DCEB8B479}" type="parTrans" cxnId="{F878F8AE-B75B-45C2-95FE-A364B929D5C5}">
      <dgm:prSet/>
      <dgm:spPr/>
      <dgm:t>
        <a:bodyPr/>
        <a:lstStyle/>
        <a:p>
          <a:endParaRPr lang="en-IN"/>
        </a:p>
      </dgm:t>
    </dgm:pt>
    <dgm:pt modelId="{D4A7494D-5D34-454A-AEC8-A10787B373F1}" type="sibTrans" cxnId="{F878F8AE-B75B-45C2-95FE-A364B929D5C5}">
      <dgm:prSet/>
      <dgm:spPr/>
      <dgm:t>
        <a:bodyPr/>
        <a:lstStyle/>
        <a:p>
          <a:endParaRPr lang="en-IN"/>
        </a:p>
      </dgm:t>
    </dgm:pt>
    <dgm:pt modelId="{76CABBBE-0F93-47D9-AD4E-79BFD77F1F91}">
      <dgm:prSet phldrT="[Text]"/>
      <dgm:spPr/>
      <dgm:t>
        <a:bodyPr/>
        <a:lstStyle/>
        <a:p>
          <a:r>
            <a:rPr lang="en-US" dirty="0"/>
            <a:t>Raw Material Approval &amp; Storage</a:t>
          </a:r>
          <a:endParaRPr lang="en-IN" dirty="0"/>
        </a:p>
      </dgm:t>
    </dgm:pt>
    <dgm:pt modelId="{CE953293-6E06-451F-9AC4-A0ABB0AB1861}" type="parTrans" cxnId="{B2DECF56-492B-45A3-881B-800FB7950D57}">
      <dgm:prSet/>
      <dgm:spPr/>
      <dgm:t>
        <a:bodyPr/>
        <a:lstStyle/>
        <a:p>
          <a:endParaRPr lang="en-IN"/>
        </a:p>
      </dgm:t>
    </dgm:pt>
    <dgm:pt modelId="{26CC3D4C-B31B-4A89-881C-D81D42E3F6A1}" type="sibTrans" cxnId="{B2DECF56-492B-45A3-881B-800FB7950D57}">
      <dgm:prSet/>
      <dgm:spPr/>
      <dgm:t>
        <a:bodyPr/>
        <a:lstStyle/>
        <a:p>
          <a:endParaRPr lang="en-IN"/>
        </a:p>
      </dgm:t>
    </dgm:pt>
    <dgm:pt modelId="{67C889A3-BDA0-4AE3-B79F-9CB47D9C73F0}">
      <dgm:prSet/>
      <dgm:spPr/>
      <dgm:t>
        <a:bodyPr/>
        <a:lstStyle/>
        <a:p>
          <a:r>
            <a:rPr lang="en-US" dirty="0"/>
            <a:t>Raw Material Approval </a:t>
          </a:r>
          <a:endParaRPr lang="en-IN" dirty="0"/>
        </a:p>
      </dgm:t>
    </dgm:pt>
    <dgm:pt modelId="{266B9DC1-3D8C-4E48-87DD-B75A05EB5137}" type="parTrans" cxnId="{8EBB0D8C-4383-4777-B4EA-90BBE6ACB5C6}">
      <dgm:prSet/>
      <dgm:spPr/>
      <dgm:t>
        <a:bodyPr/>
        <a:lstStyle/>
        <a:p>
          <a:endParaRPr lang="en-IN"/>
        </a:p>
      </dgm:t>
    </dgm:pt>
    <dgm:pt modelId="{CEDEA25E-A62F-428E-967C-AF8AC1CEE1E4}" type="sibTrans" cxnId="{8EBB0D8C-4383-4777-B4EA-90BBE6ACB5C6}">
      <dgm:prSet/>
      <dgm:spPr/>
      <dgm:t>
        <a:bodyPr/>
        <a:lstStyle/>
        <a:p>
          <a:endParaRPr lang="en-IN"/>
        </a:p>
      </dgm:t>
    </dgm:pt>
    <dgm:pt modelId="{4961155B-3DEE-4E57-81DE-48B4BB40CB79}">
      <dgm:prSet/>
      <dgm:spPr/>
      <dgm:t>
        <a:bodyPr/>
        <a:lstStyle/>
        <a:p>
          <a:r>
            <a:rPr lang="en-US" dirty="0"/>
            <a:t>Intermediate and API Storage</a:t>
          </a:r>
          <a:endParaRPr lang="en-IN" dirty="0"/>
        </a:p>
      </dgm:t>
    </dgm:pt>
    <dgm:pt modelId="{48C86BA5-2B03-46E0-8641-0FAE4DD3318F}" type="parTrans" cxnId="{BDAC3B6E-7D50-4AB1-9BEC-3707A26A1CF0}">
      <dgm:prSet/>
      <dgm:spPr/>
      <dgm:t>
        <a:bodyPr/>
        <a:lstStyle/>
        <a:p>
          <a:endParaRPr lang="en-IN"/>
        </a:p>
      </dgm:t>
    </dgm:pt>
    <dgm:pt modelId="{C7C3481E-2ED7-4489-AA02-C898CCEF09F4}" type="sibTrans" cxnId="{BDAC3B6E-7D50-4AB1-9BEC-3707A26A1CF0}">
      <dgm:prSet/>
      <dgm:spPr/>
      <dgm:t>
        <a:bodyPr/>
        <a:lstStyle/>
        <a:p>
          <a:endParaRPr lang="en-IN"/>
        </a:p>
      </dgm:t>
    </dgm:pt>
    <dgm:pt modelId="{0F9649FA-0F2B-4D49-9A9D-9E0D6F657BB4}" type="pres">
      <dgm:prSet presAssocID="{68177FE2-E87C-410F-9424-EDA9101B6916}" presName="diagram" presStyleCnt="0">
        <dgm:presLayoutVars>
          <dgm:dir/>
        </dgm:presLayoutVars>
      </dgm:prSet>
      <dgm:spPr/>
    </dgm:pt>
    <dgm:pt modelId="{C50195BC-7B1A-4F7A-A28D-D80583E70120}" type="pres">
      <dgm:prSet presAssocID="{92D71F7B-9E53-4694-9DBF-63472F15221F}" presName="composite" presStyleCnt="0"/>
      <dgm:spPr/>
    </dgm:pt>
    <dgm:pt modelId="{34011CCB-48AF-4C05-AC4B-D18E6A3FCFBC}" type="pres">
      <dgm:prSet presAssocID="{92D71F7B-9E53-4694-9DBF-63472F15221F}" presName="Image" presStyleLbl="bgShp" presStyleIdx="0" presStyleCnt="6"/>
      <dgm:spPr>
        <a:blipFill rotWithShape="1">
          <a:blip xmlns:r="http://schemas.openxmlformats.org/officeDocument/2006/relationships" r:embed="rId1"/>
          <a:srcRect/>
          <a:stretch>
            <a:fillRect t="-12000" b="-12000"/>
          </a:stretch>
        </a:blipFill>
      </dgm:spPr>
    </dgm:pt>
    <dgm:pt modelId="{A11D78F1-28E9-4629-BDAA-3F3A1864D479}" type="pres">
      <dgm:prSet presAssocID="{92D71F7B-9E53-4694-9DBF-63472F15221F}" presName="Parent" presStyleLbl="node0" presStyleIdx="0" presStyleCnt="6">
        <dgm:presLayoutVars>
          <dgm:bulletEnabled val="1"/>
        </dgm:presLayoutVars>
      </dgm:prSet>
      <dgm:spPr/>
    </dgm:pt>
    <dgm:pt modelId="{28806D05-21DC-4727-9E7C-5900D37B5A29}" type="pres">
      <dgm:prSet presAssocID="{0D464863-EC01-41BF-838E-0DCBDE4DAC5D}" presName="sibTrans" presStyleCnt="0"/>
      <dgm:spPr/>
    </dgm:pt>
    <dgm:pt modelId="{982A919E-9E65-4BB0-9D92-66177CA761B5}" type="pres">
      <dgm:prSet presAssocID="{291047B0-0C88-4FA2-95CD-59EB040103EC}" presName="composite" presStyleCnt="0"/>
      <dgm:spPr/>
    </dgm:pt>
    <dgm:pt modelId="{AAA5CADE-2684-4576-B7A3-75C016186848}" type="pres">
      <dgm:prSet presAssocID="{291047B0-0C88-4FA2-95CD-59EB040103EC}" presName="Image" presStyleLbl="bgShp" presStyleIdx="1" presStyleCnt="6"/>
      <dgm:spPr>
        <a:blipFill rotWithShape="1">
          <a:blip xmlns:r="http://schemas.openxmlformats.org/officeDocument/2006/relationships" r:embed="rId2"/>
          <a:srcRect/>
          <a:stretch>
            <a:fillRect t="-33000" b="-33000"/>
          </a:stretch>
        </a:blipFill>
      </dgm:spPr>
    </dgm:pt>
    <dgm:pt modelId="{88F2BC87-E93A-4AEA-8B2C-3E3E6D063614}" type="pres">
      <dgm:prSet presAssocID="{291047B0-0C88-4FA2-95CD-59EB040103EC}" presName="Parent" presStyleLbl="node0" presStyleIdx="1" presStyleCnt="6" custLinFactNeighborX="-14598" custLinFactNeighborY="28133">
        <dgm:presLayoutVars>
          <dgm:bulletEnabled val="1"/>
        </dgm:presLayoutVars>
      </dgm:prSet>
      <dgm:spPr/>
    </dgm:pt>
    <dgm:pt modelId="{2AAF8045-401B-4061-83F5-9472A933294E}" type="pres">
      <dgm:prSet presAssocID="{CC13EDA1-4A43-41DF-BC28-CE310587C58C}" presName="sibTrans" presStyleCnt="0"/>
      <dgm:spPr/>
    </dgm:pt>
    <dgm:pt modelId="{3AB296E2-85F5-4876-B17E-CC5B7CACE056}" type="pres">
      <dgm:prSet presAssocID="{66F290F2-756A-4DE1-83CB-B489E4B0F322}" presName="composite" presStyleCnt="0"/>
      <dgm:spPr/>
    </dgm:pt>
    <dgm:pt modelId="{5C77BA56-90FD-473D-8F89-2E950CFC3619}" type="pres">
      <dgm:prSet presAssocID="{66F290F2-756A-4DE1-83CB-B489E4B0F322}" presName="Image" presStyleLbl="bgShp" presStyleIdx="2" presStyleCnt="6"/>
      <dgm:spPr>
        <a:blipFill rotWithShape="1">
          <a:blip xmlns:r="http://schemas.openxmlformats.org/officeDocument/2006/relationships" r:embed="rId3"/>
          <a:srcRect/>
          <a:stretch>
            <a:fillRect t="-35000" b="-35000"/>
          </a:stretch>
        </a:blipFill>
      </dgm:spPr>
    </dgm:pt>
    <dgm:pt modelId="{C2A3D334-942B-4D0A-8AA9-12C876583441}" type="pres">
      <dgm:prSet presAssocID="{66F290F2-756A-4DE1-83CB-B489E4B0F322}" presName="Parent" presStyleLbl="node0" presStyleIdx="2" presStyleCnt="6" custLinFactNeighborX="-12426" custLinFactNeighborY="32219">
        <dgm:presLayoutVars>
          <dgm:bulletEnabled val="1"/>
        </dgm:presLayoutVars>
      </dgm:prSet>
      <dgm:spPr/>
    </dgm:pt>
    <dgm:pt modelId="{9E95B59F-66FF-4C0B-984B-19F092CD5D7D}" type="pres">
      <dgm:prSet presAssocID="{D4A7494D-5D34-454A-AEC8-A10787B373F1}" presName="sibTrans" presStyleCnt="0"/>
      <dgm:spPr/>
    </dgm:pt>
    <dgm:pt modelId="{E431D5F6-E9FD-48BD-A598-0F80B6C851FE}" type="pres">
      <dgm:prSet presAssocID="{76CABBBE-0F93-47D9-AD4E-79BFD77F1F91}" presName="composite" presStyleCnt="0"/>
      <dgm:spPr/>
    </dgm:pt>
    <dgm:pt modelId="{0F3E0B5F-1187-4F95-A459-0FB81B668E41}" type="pres">
      <dgm:prSet presAssocID="{76CABBBE-0F93-47D9-AD4E-79BFD77F1F91}" presName="Image" presStyleLbl="bgShp" presStyleIdx="3" presStyleCnt="6"/>
      <dgm:spPr>
        <a:blipFill rotWithShape="1">
          <a:blip xmlns:r="http://schemas.openxmlformats.org/officeDocument/2006/relationships" r:embed="rId4"/>
          <a:srcRect/>
          <a:stretch>
            <a:fillRect t="-34000" b="-34000"/>
          </a:stretch>
        </a:blipFill>
      </dgm:spPr>
    </dgm:pt>
    <dgm:pt modelId="{863F48F2-40E8-49CC-BC82-8B193B8DA7AC}" type="pres">
      <dgm:prSet presAssocID="{76CABBBE-0F93-47D9-AD4E-79BFD77F1F91}" presName="Parent" presStyleLbl="node0" presStyleIdx="3" presStyleCnt="6">
        <dgm:presLayoutVars>
          <dgm:bulletEnabled val="1"/>
        </dgm:presLayoutVars>
      </dgm:prSet>
      <dgm:spPr/>
    </dgm:pt>
    <dgm:pt modelId="{4ACA35E3-B47E-4894-91BB-1A1A57788D0E}" type="pres">
      <dgm:prSet presAssocID="{26CC3D4C-B31B-4A89-881C-D81D42E3F6A1}" presName="sibTrans" presStyleCnt="0"/>
      <dgm:spPr/>
    </dgm:pt>
    <dgm:pt modelId="{6541AD88-8798-4914-8020-2D145D21BD27}" type="pres">
      <dgm:prSet presAssocID="{67C889A3-BDA0-4AE3-B79F-9CB47D9C73F0}" presName="composite" presStyleCnt="0"/>
      <dgm:spPr/>
    </dgm:pt>
    <dgm:pt modelId="{B6F1431D-70F5-4B70-B4FC-402DA8969F1D}" type="pres">
      <dgm:prSet presAssocID="{67C889A3-BDA0-4AE3-B79F-9CB47D9C73F0}" presName="Image" presStyleLbl="bgShp" presStyleIdx="4" presStyleCnt="6"/>
      <dgm:spPr>
        <a:blipFill rotWithShape="1">
          <a:blip xmlns:r="http://schemas.openxmlformats.org/officeDocument/2006/relationships" r:embed="rId5"/>
          <a:srcRect/>
          <a:stretch>
            <a:fillRect t="-35000" b="-35000"/>
          </a:stretch>
        </a:blipFill>
      </dgm:spPr>
    </dgm:pt>
    <dgm:pt modelId="{AE1F0795-863F-40A7-B86C-0B8D1E954F9B}" type="pres">
      <dgm:prSet presAssocID="{67C889A3-BDA0-4AE3-B79F-9CB47D9C73F0}" presName="Parent" presStyleLbl="node0" presStyleIdx="4" presStyleCnt="6">
        <dgm:presLayoutVars>
          <dgm:bulletEnabled val="1"/>
        </dgm:presLayoutVars>
      </dgm:prSet>
      <dgm:spPr/>
    </dgm:pt>
    <dgm:pt modelId="{D5C028F4-C426-482B-BB0A-4D63AB9B12DE}" type="pres">
      <dgm:prSet presAssocID="{CEDEA25E-A62F-428E-967C-AF8AC1CEE1E4}" presName="sibTrans" presStyleCnt="0"/>
      <dgm:spPr/>
    </dgm:pt>
    <dgm:pt modelId="{7C84CA96-8C75-4DD6-A01B-CF4023A7DAAC}" type="pres">
      <dgm:prSet presAssocID="{4961155B-3DEE-4E57-81DE-48B4BB40CB79}" presName="composite" presStyleCnt="0"/>
      <dgm:spPr/>
    </dgm:pt>
    <dgm:pt modelId="{B5221D01-1A96-4C56-B5C9-E76E37A39092}" type="pres">
      <dgm:prSet presAssocID="{4961155B-3DEE-4E57-81DE-48B4BB40CB79}" presName="Image" presStyleLbl="bgShp" presStyleIdx="5" presStyleCnt="6" custScaleY="93974" custLinFactNeighborX="904" custLinFactNeighborY="-4907"/>
      <dgm:spPr>
        <a:blipFill rotWithShape="1">
          <a:blip xmlns:r="http://schemas.openxmlformats.org/officeDocument/2006/relationships" r:embed="rId6"/>
          <a:srcRect/>
          <a:stretch>
            <a:fillRect l="-58000" r="-58000"/>
          </a:stretch>
        </a:blipFill>
      </dgm:spPr>
    </dgm:pt>
    <dgm:pt modelId="{2EAEE2DF-7D3D-45F1-9A3B-7DDA5E50515B}" type="pres">
      <dgm:prSet presAssocID="{4961155B-3DEE-4E57-81DE-48B4BB40CB79}" presName="Parent" presStyleLbl="node0" presStyleIdx="5" presStyleCnt="6" custScaleY="88355" custLinFactNeighborX="-16355" custLinFactNeighborY="66308">
        <dgm:presLayoutVars>
          <dgm:bulletEnabled val="1"/>
        </dgm:presLayoutVars>
      </dgm:prSet>
      <dgm:spPr/>
    </dgm:pt>
  </dgm:ptLst>
  <dgm:cxnLst>
    <dgm:cxn modelId="{D6EC6E1E-9B17-46A8-B048-EDB62E25D188}" srcId="{68177FE2-E87C-410F-9424-EDA9101B6916}" destId="{92D71F7B-9E53-4694-9DBF-63472F15221F}" srcOrd="0" destOrd="0" parTransId="{7FC949D0-0BB7-40A0-A650-33BBEB00D22A}" sibTransId="{0D464863-EC01-41BF-838E-0DCBDE4DAC5D}"/>
    <dgm:cxn modelId="{BE59BC27-BB97-4AA5-8E9C-93F8EFFF5469}" type="presOf" srcId="{67C889A3-BDA0-4AE3-B79F-9CB47D9C73F0}" destId="{AE1F0795-863F-40A7-B86C-0B8D1E954F9B}" srcOrd="0" destOrd="0" presId="urn:microsoft.com/office/officeart/2008/layout/BendingPictureCaption"/>
    <dgm:cxn modelId="{2E08682A-5B68-4279-9D8A-CD83D3A15784}" type="presOf" srcId="{4961155B-3DEE-4E57-81DE-48B4BB40CB79}" destId="{2EAEE2DF-7D3D-45F1-9A3B-7DDA5E50515B}" srcOrd="0" destOrd="0" presId="urn:microsoft.com/office/officeart/2008/layout/BendingPictureCaption"/>
    <dgm:cxn modelId="{72B7A732-A41A-48EF-9F8E-84B01C269BF7}" type="presOf" srcId="{76CABBBE-0F93-47D9-AD4E-79BFD77F1F91}" destId="{863F48F2-40E8-49CC-BC82-8B193B8DA7AC}" srcOrd="0" destOrd="0" presId="urn:microsoft.com/office/officeart/2008/layout/BendingPictureCaption"/>
    <dgm:cxn modelId="{3B9FA13E-0750-4618-9ADA-7A095BE9756C}" type="presOf" srcId="{66F290F2-756A-4DE1-83CB-B489E4B0F322}" destId="{C2A3D334-942B-4D0A-8AA9-12C876583441}" srcOrd="0" destOrd="0" presId="urn:microsoft.com/office/officeart/2008/layout/BendingPictureCaption"/>
    <dgm:cxn modelId="{33FA985F-F778-4FFC-871B-4C4793423787}" type="presOf" srcId="{68177FE2-E87C-410F-9424-EDA9101B6916}" destId="{0F9649FA-0F2B-4D49-9A9D-9E0D6F657BB4}" srcOrd="0" destOrd="0" presId="urn:microsoft.com/office/officeart/2008/layout/BendingPictureCaption"/>
    <dgm:cxn modelId="{BDAC3B6E-7D50-4AB1-9BEC-3707A26A1CF0}" srcId="{68177FE2-E87C-410F-9424-EDA9101B6916}" destId="{4961155B-3DEE-4E57-81DE-48B4BB40CB79}" srcOrd="5" destOrd="0" parTransId="{48C86BA5-2B03-46E0-8641-0FAE4DD3318F}" sibTransId="{C7C3481E-2ED7-4489-AA02-C898CCEF09F4}"/>
    <dgm:cxn modelId="{B2DECF56-492B-45A3-881B-800FB7950D57}" srcId="{68177FE2-E87C-410F-9424-EDA9101B6916}" destId="{76CABBBE-0F93-47D9-AD4E-79BFD77F1F91}" srcOrd="3" destOrd="0" parTransId="{CE953293-6E06-451F-9AC4-A0ABB0AB1861}" sibTransId="{26CC3D4C-B31B-4A89-881C-D81D42E3F6A1}"/>
    <dgm:cxn modelId="{339A5584-41CE-4085-823A-65FA8A8C0CE1}" type="presOf" srcId="{291047B0-0C88-4FA2-95CD-59EB040103EC}" destId="{88F2BC87-E93A-4AEA-8B2C-3E3E6D063614}" srcOrd="0" destOrd="0" presId="urn:microsoft.com/office/officeart/2008/layout/BendingPictureCaption"/>
    <dgm:cxn modelId="{8EBB0D8C-4383-4777-B4EA-90BBE6ACB5C6}" srcId="{68177FE2-E87C-410F-9424-EDA9101B6916}" destId="{67C889A3-BDA0-4AE3-B79F-9CB47D9C73F0}" srcOrd="4" destOrd="0" parTransId="{266B9DC1-3D8C-4E48-87DD-B75A05EB5137}" sibTransId="{CEDEA25E-A62F-428E-967C-AF8AC1CEE1E4}"/>
    <dgm:cxn modelId="{08B55B95-3085-4197-B3DD-11C39CC8CD3A}" type="presOf" srcId="{92D71F7B-9E53-4694-9DBF-63472F15221F}" destId="{A11D78F1-28E9-4629-BDAA-3F3A1864D479}" srcOrd="0" destOrd="0" presId="urn:microsoft.com/office/officeart/2008/layout/BendingPictureCaption"/>
    <dgm:cxn modelId="{F878F8AE-B75B-45C2-95FE-A364B929D5C5}" srcId="{68177FE2-E87C-410F-9424-EDA9101B6916}" destId="{66F290F2-756A-4DE1-83CB-B489E4B0F322}" srcOrd="2" destOrd="0" parTransId="{0FC12659-C81A-4D97-8079-778DCEB8B479}" sibTransId="{D4A7494D-5D34-454A-AEC8-A10787B373F1}"/>
    <dgm:cxn modelId="{42DF16E5-F831-4FF8-AB1A-61F88558BBFE}" srcId="{68177FE2-E87C-410F-9424-EDA9101B6916}" destId="{291047B0-0C88-4FA2-95CD-59EB040103EC}" srcOrd="1" destOrd="0" parTransId="{39ED18C5-BE98-4E8D-A15B-74C7C9AE2B11}" sibTransId="{CC13EDA1-4A43-41DF-BC28-CE310587C58C}"/>
    <dgm:cxn modelId="{3CA47C6E-2959-4CC9-B244-C91A35F41BA0}" type="presParOf" srcId="{0F9649FA-0F2B-4D49-9A9D-9E0D6F657BB4}" destId="{C50195BC-7B1A-4F7A-A28D-D80583E70120}" srcOrd="0" destOrd="0" presId="urn:microsoft.com/office/officeart/2008/layout/BendingPictureCaption"/>
    <dgm:cxn modelId="{56023039-EC8E-40AA-B09B-2B871340DD4B}" type="presParOf" srcId="{C50195BC-7B1A-4F7A-A28D-D80583E70120}" destId="{34011CCB-48AF-4C05-AC4B-D18E6A3FCFBC}" srcOrd="0" destOrd="0" presId="urn:microsoft.com/office/officeart/2008/layout/BendingPictureCaption"/>
    <dgm:cxn modelId="{7A44810E-E15C-40EE-BD2A-835BDC29CB3B}" type="presParOf" srcId="{C50195BC-7B1A-4F7A-A28D-D80583E70120}" destId="{A11D78F1-28E9-4629-BDAA-3F3A1864D479}" srcOrd="1" destOrd="0" presId="urn:microsoft.com/office/officeart/2008/layout/BendingPictureCaption"/>
    <dgm:cxn modelId="{2F4DE9F8-CCD0-49E1-988B-4B28B99397C4}" type="presParOf" srcId="{0F9649FA-0F2B-4D49-9A9D-9E0D6F657BB4}" destId="{28806D05-21DC-4727-9E7C-5900D37B5A29}" srcOrd="1" destOrd="0" presId="urn:microsoft.com/office/officeart/2008/layout/BendingPictureCaption"/>
    <dgm:cxn modelId="{D066326B-4816-4128-977F-D3E2FD032978}" type="presParOf" srcId="{0F9649FA-0F2B-4D49-9A9D-9E0D6F657BB4}" destId="{982A919E-9E65-4BB0-9D92-66177CA761B5}" srcOrd="2" destOrd="0" presId="urn:microsoft.com/office/officeart/2008/layout/BendingPictureCaption"/>
    <dgm:cxn modelId="{FCE943C4-467E-413D-9FB9-284D3CF38931}" type="presParOf" srcId="{982A919E-9E65-4BB0-9D92-66177CA761B5}" destId="{AAA5CADE-2684-4576-B7A3-75C016186848}" srcOrd="0" destOrd="0" presId="urn:microsoft.com/office/officeart/2008/layout/BendingPictureCaption"/>
    <dgm:cxn modelId="{64784B18-AF12-4FAA-BB79-D911DF42828B}" type="presParOf" srcId="{982A919E-9E65-4BB0-9D92-66177CA761B5}" destId="{88F2BC87-E93A-4AEA-8B2C-3E3E6D063614}" srcOrd="1" destOrd="0" presId="urn:microsoft.com/office/officeart/2008/layout/BendingPictureCaption"/>
    <dgm:cxn modelId="{27741A4E-CE1E-49AF-939B-B059AA4E0890}" type="presParOf" srcId="{0F9649FA-0F2B-4D49-9A9D-9E0D6F657BB4}" destId="{2AAF8045-401B-4061-83F5-9472A933294E}" srcOrd="3" destOrd="0" presId="urn:microsoft.com/office/officeart/2008/layout/BendingPictureCaption"/>
    <dgm:cxn modelId="{5C579624-A940-4881-A6EF-3D987739B8DB}" type="presParOf" srcId="{0F9649FA-0F2B-4D49-9A9D-9E0D6F657BB4}" destId="{3AB296E2-85F5-4876-B17E-CC5B7CACE056}" srcOrd="4" destOrd="0" presId="urn:microsoft.com/office/officeart/2008/layout/BendingPictureCaption"/>
    <dgm:cxn modelId="{743DA0BF-FEED-4B66-8BB6-F12AFD97F9F8}" type="presParOf" srcId="{3AB296E2-85F5-4876-B17E-CC5B7CACE056}" destId="{5C77BA56-90FD-473D-8F89-2E950CFC3619}" srcOrd="0" destOrd="0" presId="urn:microsoft.com/office/officeart/2008/layout/BendingPictureCaption"/>
    <dgm:cxn modelId="{45359CAB-D25E-4C97-BD14-65CFB4D3D993}" type="presParOf" srcId="{3AB296E2-85F5-4876-B17E-CC5B7CACE056}" destId="{C2A3D334-942B-4D0A-8AA9-12C876583441}" srcOrd="1" destOrd="0" presId="urn:microsoft.com/office/officeart/2008/layout/BendingPictureCaption"/>
    <dgm:cxn modelId="{E3EF2D25-A798-4BF0-AAE7-3CFDE77D0CE9}" type="presParOf" srcId="{0F9649FA-0F2B-4D49-9A9D-9E0D6F657BB4}" destId="{9E95B59F-66FF-4C0B-984B-19F092CD5D7D}" srcOrd="5" destOrd="0" presId="urn:microsoft.com/office/officeart/2008/layout/BendingPictureCaption"/>
    <dgm:cxn modelId="{B0AB3EB6-7634-45EE-96D5-BF27E2E5F51A}" type="presParOf" srcId="{0F9649FA-0F2B-4D49-9A9D-9E0D6F657BB4}" destId="{E431D5F6-E9FD-48BD-A598-0F80B6C851FE}" srcOrd="6" destOrd="0" presId="urn:microsoft.com/office/officeart/2008/layout/BendingPictureCaption"/>
    <dgm:cxn modelId="{33F0EAD5-359F-46F7-9D15-E46951F938A2}" type="presParOf" srcId="{E431D5F6-E9FD-48BD-A598-0F80B6C851FE}" destId="{0F3E0B5F-1187-4F95-A459-0FB81B668E41}" srcOrd="0" destOrd="0" presId="urn:microsoft.com/office/officeart/2008/layout/BendingPictureCaption"/>
    <dgm:cxn modelId="{84D444A0-C9FD-481D-B9DE-C5F93CEF5223}" type="presParOf" srcId="{E431D5F6-E9FD-48BD-A598-0F80B6C851FE}" destId="{863F48F2-40E8-49CC-BC82-8B193B8DA7AC}" srcOrd="1" destOrd="0" presId="urn:microsoft.com/office/officeart/2008/layout/BendingPictureCaption"/>
    <dgm:cxn modelId="{AD29FCD4-5DC0-456B-A7AA-608ED95BFE87}" type="presParOf" srcId="{0F9649FA-0F2B-4D49-9A9D-9E0D6F657BB4}" destId="{4ACA35E3-B47E-4894-91BB-1A1A57788D0E}" srcOrd="7" destOrd="0" presId="urn:microsoft.com/office/officeart/2008/layout/BendingPictureCaption"/>
    <dgm:cxn modelId="{587A2335-A1BD-4A21-BB34-E16554AE4257}" type="presParOf" srcId="{0F9649FA-0F2B-4D49-9A9D-9E0D6F657BB4}" destId="{6541AD88-8798-4914-8020-2D145D21BD27}" srcOrd="8" destOrd="0" presId="urn:microsoft.com/office/officeart/2008/layout/BendingPictureCaption"/>
    <dgm:cxn modelId="{52F3F300-8C21-4724-B289-95372EF25D78}" type="presParOf" srcId="{6541AD88-8798-4914-8020-2D145D21BD27}" destId="{B6F1431D-70F5-4B70-B4FC-402DA8969F1D}" srcOrd="0" destOrd="0" presId="urn:microsoft.com/office/officeart/2008/layout/BendingPictureCaption"/>
    <dgm:cxn modelId="{F19B8266-5C13-4349-903D-A8F604C76E59}" type="presParOf" srcId="{6541AD88-8798-4914-8020-2D145D21BD27}" destId="{AE1F0795-863F-40A7-B86C-0B8D1E954F9B}" srcOrd="1" destOrd="0" presId="urn:microsoft.com/office/officeart/2008/layout/BendingPictureCaption"/>
    <dgm:cxn modelId="{28B70144-3BF0-40C1-AD5D-08D438B18C87}" type="presParOf" srcId="{0F9649FA-0F2B-4D49-9A9D-9E0D6F657BB4}" destId="{D5C028F4-C426-482B-BB0A-4D63AB9B12DE}" srcOrd="9" destOrd="0" presId="urn:microsoft.com/office/officeart/2008/layout/BendingPictureCaption"/>
    <dgm:cxn modelId="{7502449B-90B2-473E-B5B4-4DD301291DE8}" type="presParOf" srcId="{0F9649FA-0F2B-4D49-9A9D-9E0D6F657BB4}" destId="{7C84CA96-8C75-4DD6-A01B-CF4023A7DAAC}" srcOrd="10" destOrd="0" presId="urn:microsoft.com/office/officeart/2008/layout/BendingPictureCaption"/>
    <dgm:cxn modelId="{BC3E1124-A492-4D26-9EBD-18DF3EC9ECD0}" type="presParOf" srcId="{7C84CA96-8C75-4DD6-A01B-CF4023A7DAAC}" destId="{B5221D01-1A96-4C56-B5C9-E76E37A39092}" srcOrd="0" destOrd="0" presId="urn:microsoft.com/office/officeart/2008/layout/BendingPictureCaption"/>
    <dgm:cxn modelId="{6841EF04-8D80-47E4-A978-B98EAE39506D}" type="presParOf" srcId="{7C84CA96-8C75-4DD6-A01B-CF4023A7DAAC}" destId="{2EAEE2DF-7D3D-45F1-9A3B-7DDA5E50515B}"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8177FE2-E87C-410F-9424-EDA9101B6916}" type="doc">
      <dgm:prSet loTypeId="urn:microsoft.com/office/officeart/2008/layout/BendingPictureCaption" loCatId="picture" qsTypeId="urn:microsoft.com/office/officeart/2005/8/quickstyle/simple1" qsCatId="simple" csTypeId="urn:microsoft.com/office/officeart/2005/8/colors/accent1_2" csCatId="accent1" phldr="1"/>
      <dgm:spPr/>
      <dgm:t>
        <a:bodyPr/>
        <a:lstStyle/>
        <a:p>
          <a:endParaRPr lang="en-IN"/>
        </a:p>
      </dgm:t>
    </dgm:pt>
    <dgm:pt modelId="{92D71F7B-9E53-4694-9DBF-63472F15221F}">
      <dgm:prSet phldrT="[Text]"/>
      <dgm:spPr/>
      <dgm:t>
        <a:bodyPr/>
        <a:lstStyle/>
        <a:p>
          <a:r>
            <a:rPr lang="en-US" dirty="0"/>
            <a:t>Store issue &amp; dispensed the material </a:t>
          </a:r>
          <a:endParaRPr lang="en-IN" dirty="0"/>
        </a:p>
      </dgm:t>
    </dgm:pt>
    <dgm:pt modelId="{7FC949D0-0BB7-40A0-A650-33BBEB00D22A}" type="parTrans" cxnId="{D6EC6E1E-9B17-46A8-B048-EDB62E25D188}">
      <dgm:prSet/>
      <dgm:spPr/>
      <dgm:t>
        <a:bodyPr/>
        <a:lstStyle/>
        <a:p>
          <a:endParaRPr lang="en-IN"/>
        </a:p>
      </dgm:t>
    </dgm:pt>
    <dgm:pt modelId="{0D464863-EC01-41BF-838E-0DCBDE4DAC5D}" type="sibTrans" cxnId="{D6EC6E1E-9B17-46A8-B048-EDB62E25D188}">
      <dgm:prSet/>
      <dgm:spPr/>
      <dgm:t>
        <a:bodyPr/>
        <a:lstStyle/>
        <a:p>
          <a:endParaRPr lang="en-IN"/>
        </a:p>
      </dgm:t>
    </dgm:pt>
    <dgm:pt modelId="{291047B0-0C88-4FA2-95CD-59EB040103EC}">
      <dgm:prSet phldrT="[Text]"/>
      <dgm:spPr/>
      <dgm:t>
        <a:bodyPr/>
        <a:lstStyle/>
        <a:p>
          <a:r>
            <a:rPr lang="en-US" dirty="0"/>
            <a:t>Reaction Process </a:t>
          </a:r>
          <a:endParaRPr lang="en-IN" dirty="0"/>
        </a:p>
      </dgm:t>
    </dgm:pt>
    <dgm:pt modelId="{39ED18C5-BE98-4E8D-A15B-74C7C9AE2B11}" type="parTrans" cxnId="{42DF16E5-F831-4FF8-AB1A-61F88558BBFE}">
      <dgm:prSet/>
      <dgm:spPr/>
      <dgm:t>
        <a:bodyPr/>
        <a:lstStyle/>
        <a:p>
          <a:endParaRPr lang="en-IN"/>
        </a:p>
      </dgm:t>
    </dgm:pt>
    <dgm:pt modelId="{CC13EDA1-4A43-41DF-BC28-CE310587C58C}" type="sibTrans" cxnId="{42DF16E5-F831-4FF8-AB1A-61F88558BBFE}">
      <dgm:prSet/>
      <dgm:spPr/>
      <dgm:t>
        <a:bodyPr/>
        <a:lstStyle/>
        <a:p>
          <a:endParaRPr lang="en-IN"/>
        </a:p>
      </dgm:t>
    </dgm:pt>
    <dgm:pt modelId="{66F290F2-756A-4DE1-83CB-B489E4B0F322}">
      <dgm:prSet phldrT="[Text]"/>
      <dgm:spPr/>
      <dgm:t>
        <a:bodyPr/>
        <a:lstStyle/>
        <a:p>
          <a:r>
            <a:rPr lang="en-US" dirty="0"/>
            <a:t>Physical Isolation </a:t>
          </a:r>
          <a:endParaRPr lang="en-IN" dirty="0"/>
        </a:p>
      </dgm:t>
    </dgm:pt>
    <dgm:pt modelId="{0FC12659-C81A-4D97-8079-778DCEB8B479}" type="parTrans" cxnId="{F878F8AE-B75B-45C2-95FE-A364B929D5C5}">
      <dgm:prSet/>
      <dgm:spPr/>
      <dgm:t>
        <a:bodyPr/>
        <a:lstStyle/>
        <a:p>
          <a:endParaRPr lang="en-IN"/>
        </a:p>
      </dgm:t>
    </dgm:pt>
    <dgm:pt modelId="{D4A7494D-5D34-454A-AEC8-A10787B373F1}" type="sibTrans" cxnId="{F878F8AE-B75B-45C2-95FE-A364B929D5C5}">
      <dgm:prSet/>
      <dgm:spPr/>
      <dgm:t>
        <a:bodyPr/>
        <a:lstStyle/>
        <a:p>
          <a:endParaRPr lang="en-IN"/>
        </a:p>
      </dgm:t>
    </dgm:pt>
    <dgm:pt modelId="{76CABBBE-0F93-47D9-AD4E-79BFD77F1F91}">
      <dgm:prSet phldrT="[Text]"/>
      <dgm:spPr/>
      <dgm:t>
        <a:bodyPr/>
        <a:lstStyle/>
        <a:p>
          <a:r>
            <a:rPr lang="en-US" dirty="0"/>
            <a:t>Co milling </a:t>
          </a:r>
          <a:endParaRPr lang="en-IN" dirty="0"/>
        </a:p>
      </dgm:t>
    </dgm:pt>
    <dgm:pt modelId="{CE953293-6E06-451F-9AC4-A0ABB0AB1861}" type="parTrans" cxnId="{B2DECF56-492B-45A3-881B-800FB7950D57}">
      <dgm:prSet/>
      <dgm:spPr/>
      <dgm:t>
        <a:bodyPr/>
        <a:lstStyle/>
        <a:p>
          <a:endParaRPr lang="en-IN"/>
        </a:p>
      </dgm:t>
    </dgm:pt>
    <dgm:pt modelId="{26CC3D4C-B31B-4A89-881C-D81D42E3F6A1}" type="sibTrans" cxnId="{B2DECF56-492B-45A3-881B-800FB7950D57}">
      <dgm:prSet/>
      <dgm:spPr/>
      <dgm:t>
        <a:bodyPr/>
        <a:lstStyle/>
        <a:p>
          <a:endParaRPr lang="en-IN"/>
        </a:p>
      </dgm:t>
    </dgm:pt>
    <dgm:pt modelId="{67C889A3-BDA0-4AE3-B79F-9CB47D9C73F0}">
      <dgm:prSet/>
      <dgm:spPr/>
      <dgm:t>
        <a:bodyPr/>
        <a:lstStyle/>
        <a:p>
          <a:r>
            <a:rPr lang="en-US" dirty="0"/>
            <a:t>Sifter </a:t>
          </a:r>
          <a:endParaRPr lang="en-IN" dirty="0"/>
        </a:p>
      </dgm:t>
    </dgm:pt>
    <dgm:pt modelId="{266B9DC1-3D8C-4E48-87DD-B75A05EB5137}" type="parTrans" cxnId="{8EBB0D8C-4383-4777-B4EA-90BBE6ACB5C6}">
      <dgm:prSet/>
      <dgm:spPr/>
      <dgm:t>
        <a:bodyPr/>
        <a:lstStyle/>
        <a:p>
          <a:endParaRPr lang="en-IN"/>
        </a:p>
      </dgm:t>
    </dgm:pt>
    <dgm:pt modelId="{CEDEA25E-A62F-428E-967C-AF8AC1CEE1E4}" type="sibTrans" cxnId="{8EBB0D8C-4383-4777-B4EA-90BBE6ACB5C6}">
      <dgm:prSet/>
      <dgm:spPr/>
      <dgm:t>
        <a:bodyPr/>
        <a:lstStyle/>
        <a:p>
          <a:endParaRPr lang="en-IN"/>
        </a:p>
      </dgm:t>
    </dgm:pt>
    <dgm:pt modelId="{4961155B-3DEE-4E57-81DE-48B4BB40CB79}">
      <dgm:prSet/>
      <dgm:spPr/>
      <dgm:t>
        <a:bodyPr/>
        <a:lstStyle/>
        <a:p>
          <a:r>
            <a:rPr lang="en-US" dirty="0"/>
            <a:t>Final analysis </a:t>
          </a:r>
          <a:endParaRPr lang="en-IN" dirty="0"/>
        </a:p>
      </dgm:t>
    </dgm:pt>
    <dgm:pt modelId="{48C86BA5-2B03-46E0-8641-0FAE4DD3318F}" type="parTrans" cxnId="{BDAC3B6E-7D50-4AB1-9BEC-3707A26A1CF0}">
      <dgm:prSet/>
      <dgm:spPr/>
      <dgm:t>
        <a:bodyPr/>
        <a:lstStyle/>
        <a:p>
          <a:endParaRPr lang="en-IN"/>
        </a:p>
      </dgm:t>
    </dgm:pt>
    <dgm:pt modelId="{C7C3481E-2ED7-4489-AA02-C898CCEF09F4}" type="sibTrans" cxnId="{BDAC3B6E-7D50-4AB1-9BEC-3707A26A1CF0}">
      <dgm:prSet/>
      <dgm:spPr/>
      <dgm:t>
        <a:bodyPr/>
        <a:lstStyle/>
        <a:p>
          <a:endParaRPr lang="en-IN"/>
        </a:p>
      </dgm:t>
    </dgm:pt>
    <dgm:pt modelId="{AFD70BE8-17BE-4D51-AE37-B5890E7DF651}">
      <dgm:prSet phldrT="[Text]"/>
      <dgm:spPr/>
      <dgm:t>
        <a:bodyPr/>
        <a:lstStyle/>
        <a:p>
          <a:r>
            <a:rPr lang="en-US" dirty="0"/>
            <a:t>IPC</a:t>
          </a:r>
          <a:endParaRPr lang="en-IN" dirty="0"/>
        </a:p>
      </dgm:t>
    </dgm:pt>
    <dgm:pt modelId="{FFAE2FFC-CE8D-4BD7-90EB-62513F943ECB}" type="parTrans" cxnId="{49C2735D-BC40-41FE-811A-41255655F37A}">
      <dgm:prSet/>
      <dgm:spPr/>
      <dgm:t>
        <a:bodyPr/>
        <a:lstStyle/>
        <a:p>
          <a:endParaRPr lang="en-IN"/>
        </a:p>
      </dgm:t>
    </dgm:pt>
    <dgm:pt modelId="{D7434D0A-97E0-41AA-A2E1-8BFD043ED367}" type="sibTrans" cxnId="{49C2735D-BC40-41FE-811A-41255655F37A}">
      <dgm:prSet/>
      <dgm:spPr/>
      <dgm:t>
        <a:bodyPr/>
        <a:lstStyle/>
        <a:p>
          <a:endParaRPr lang="en-IN"/>
        </a:p>
      </dgm:t>
    </dgm:pt>
    <dgm:pt modelId="{79AA76F0-29BC-4BC4-B0D2-E372F9C97966}">
      <dgm:prSet/>
      <dgm:spPr/>
      <dgm:t>
        <a:bodyPr/>
        <a:lstStyle/>
        <a:p>
          <a:r>
            <a:rPr lang="en-US" dirty="0"/>
            <a:t>Approved Material </a:t>
          </a:r>
          <a:endParaRPr lang="en-IN" dirty="0"/>
        </a:p>
      </dgm:t>
    </dgm:pt>
    <dgm:pt modelId="{A1780977-04FF-482F-AB17-BF8B7C6FB8A9}" type="parTrans" cxnId="{4676AC54-D737-4DC4-AEC8-49D80EE1EE03}">
      <dgm:prSet/>
      <dgm:spPr/>
      <dgm:t>
        <a:bodyPr/>
        <a:lstStyle/>
        <a:p>
          <a:endParaRPr lang="en-IN"/>
        </a:p>
      </dgm:t>
    </dgm:pt>
    <dgm:pt modelId="{9C9A4B53-A58F-4D56-AD54-F0FF3273F898}" type="sibTrans" cxnId="{4676AC54-D737-4DC4-AEC8-49D80EE1EE03}">
      <dgm:prSet/>
      <dgm:spPr/>
      <dgm:t>
        <a:bodyPr/>
        <a:lstStyle/>
        <a:p>
          <a:endParaRPr lang="en-IN"/>
        </a:p>
      </dgm:t>
    </dgm:pt>
    <dgm:pt modelId="{DDA76D78-F039-4DF0-8E04-95DB8EC88D95}">
      <dgm:prSet/>
      <dgm:spPr/>
      <dgm:t>
        <a:bodyPr/>
        <a:lstStyle/>
        <a:p>
          <a:r>
            <a:rPr lang="en-US" dirty="0"/>
            <a:t>Intermediate and API Storage warehouse </a:t>
          </a:r>
          <a:endParaRPr lang="en-IN" dirty="0"/>
        </a:p>
      </dgm:t>
    </dgm:pt>
    <dgm:pt modelId="{BAE0A815-3116-44EA-9EDA-54605CC8CC79}" type="parTrans" cxnId="{EDF0658E-A99C-4CBE-A24C-8398176DF705}">
      <dgm:prSet/>
      <dgm:spPr/>
      <dgm:t>
        <a:bodyPr/>
        <a:lstStyle/>
        <a:p>
          <a:endParaRPr lang="en-IN"/>
        </a:p>
      </dgm:t>
    </dgm:pt>
    <dgm:pt modelId="{38200A0D-9A3B-4E5F-BD7A-379F8ECA660C}" type="sibTrans" cxnId="{EDF0658E-A99C-4CBE-A24C-8398176DF705}">
      <dgm:prSet/>
      <dgm:spPr/>
      <dgm:t>
        <a:bodyPr/>
        <a:lstStyle/>
        <a:p>
          <a:endParaRPr lang="en-IN"/>
        </a:p>
      </dgm:t>
    </dgm:pt>
    <dgm:pt modelId="{0AC372CD-AEF9-43A2-AFE7-3ACD84C3A10D}">
      <dgm:prSet phldrT="[Text]"/>
      <dgm:spPr/>
      <dgm:t>
        <a:bodyPr/>
        <a:lstStyle/>
        <a:p>
          <a:r>
            <a:rPr lang="en-US" dirty="0"/>
            <a:t>Operations</a:t>
          </a:r>
          <a:endParaRPr lang="en-IN" dirty="0"/>
        </a:p>
      </dgm:t>
    </dgm:pt>
    <dgm:pt modelId="{CC121321-B71E-4C3B-BA69-F0647D0F33B0}" type="parTrans" cxnId="{727CFE1F-8FE9-4C90-B557-51FF79ADD64B}">
      <dgm:prSet/>
      <dgm:spPr/>
      <dgm:t>
        <a:bodyPr/>
        <a:lstStyle/>
        <a:p>
          <a:endParaRPr lang="en-IN"/>
        </a:p>
      </dgm:t>
    </dgm:pt>
    <dgm:pt modelId="{08FE750C-E358-4F91-BBF0-1ABA09279175}" type="sibTrans" cxnId="{727CFE1F-8FE9-4C90-B557-51FF79ADD64B}">
      <dgm:prSet/>
      <dgm:spPr/>
      <dgm:t>
        <a:bodyPr/>
        <a:lstStyle/>
        <a:p>
          <a:endParaRPr lang="en-IN"/>
        </a:p>
      </dgm:t>
    </dgm:pt>
    <dgm:pt modelId="{2721616C-80F0-4E4B-8C1B-E521B19CC6B8}">
      <dgm:prSet phldrT="[Text]"/>
      <dgm:spPr/>
      <dgm:t>
        <a:bodyPr/>
        <a:lstStyle/>
        <a:p>
          <a:r>
            <a:rPr lang="en-IN" dirty="0"/>
            <a:t>RCVD</a:t>
          </a:r>
        </a:p>
      </dgm:t>
    </dgm:pt>
    <dgm:pt modelId="{C2378EBE-3E03-4EE4-90B3-678988EBD803}" type="parTrans" cxnId="{C71762C6-66DB-42E8-B322-66B9508006F6}">
      <dgm:prSet/>
      <dgm:spPr/>
      <dgm:t>
        <a:bodyPr/>
        <a:lstStyle/>
        <a:p>
          <a:endParaRPr lang="en-IN"/>
        </a:p>
      </dgm:t>
    </dgm:pt>
    <dgm:pt modelId="{50E79AB7-A03E-4AFD-B785-28458A8FAE22}" type="sibTrans" cxnId="{C71762C6-66DB-42E8-B322-66B9508006F6}">
      <dgm:prSet/>
      <dgm:spPr/>
      <dgm:t>
        <a:bodyPr/>
        <a:lstStyle/>
        <a:p>
          <a:endParaRPr lang="en-IN"/>
        </a:p>
      </dgm:t>
    </dgm:pt>
    <dgm:pt modelId="{C938D079-64E3-4F64-BBB9-180495E18960}">
      <dgm:prSet phldrT="[Text]"/>
      <dgm:spPr/>
      <dgm:t>
        <a:bodyPr/>
        <a:lstStyle/>
        <a:p>
          <a:r>
            <a:rPr lang="en-IN" dirty="0"/>
            <a:t>Tray dryer </a:t>
          </a:r>
        </a:p>
      </dgm:t>
    </dgm:pt>
    <dgm:pt modelId="{57104AD6-8DD9-4806-994A-77BD398F0386}" type="parTrans" cxnId="{100A01BB-F4BF-4E6E-8F8A-17D20B42EBB5}">
      <dgm:prSet/>
      <dgm:spPr/>
      <dgm:t>
        <a:bodyPr/>
        <a:lstStyle/>
        <a:p>
          <a:endParaRPr lang="en-IN"/>
        </a:p>
      </dgm:t>
    </dgm:pt>
    <dgm:pt modelId="{692E225A-5C82-4A4C-A053-7CD413B58353}" type="sibTrans" cxnId="{100A01BB-F4BF-4E6E-8F8A-17D20B42EBB5}">
      <dgm:prSet/>
      <dgm:spPr/>
      <dgm:t>
        <a:bodyPr/>
        <a:lstStyle/>
        <a:p>
          <a:endParaRPr lang="en-IN"/>
        </a:p>
      </dgm:t>
    </dgm:pt>
    <dgm:pt modelId="{0F9649FA-0F2B-4D49-9A9D-9E0D6F657BB4}" type="pres">
      <dgm:prSet presAssocID="{68177FE2-E87C-410F-9424-EDA9101B6916}" presName="diagram" presStyleCnt="0">
        <dgm:presLayoutVars>
          <dgm:dir/>
        </dgm:presLayoutVars>
      </dgm:prSet>
      <dgm:spPr/>
    </dgm:pt>
    <dgm:pt modelId="{C50195BC-7B1A-4F7A-A28D-D80583E70120}" type="pres">
      <dgm:prSet presAssocID="{92D71F7B-9E53-4694-9DBF-63472F15221F}" presName="composite" presStyleCnt="0"/>
      <dgm:spPr/>
    </dgm:pt>
    <dgm:pt modelId="{34011CCB-48AF-4C05-AC4B-D18E6A3FCFBC}" type="pres">
      <dgm:prSet presAssocID="{92D71F7B-9E53-4694-9DBF-63472F15221F}" presName="Image" presStyleLbl="bgShp" presStyleIdx="0" presStyleCnt="12"/>
      <dgm:spPr>
        <a:blipFill rotWithShape="1">
          <a:blip xmlns:r="http://schemas.openxmlformats.org/officeDocument/2006/relationships" r:embed="rId1"/>
          <a:srcRect/>
          <a:stretch>
            <a:fillRect t="-35000" b="-35000"/>
          </a:stretch>
        </a:blipFill>
      </dgm:spPr>
    </dgm:pt>
    <dgm:pt modelId="{A11D78F1-28E9-4629-BDAA-3F3A1864D479}" type="pres">
      <dgm:prSet presAssocID="{92D71F7B-9E53-4694-9DBF-63472F15221F}" presName="Parent" presStyleLbl="node0" presStyleIdx="0" presStyleCnt="12" custLinFactNeighborX="-14604" custLinFactNeighborY="11581">
        <dgm:presLayoutVars>
          <dgm:bulletEnabled val="1"/>
        </dgm:presLayoutVars>
      </dgm:prSet>
      <dgm:spPr/>
    </dgm:pt>
    <dgm:pt modelId="{28806D05-21DC-4727-9E7C-5900D37B5A29}" type="pres">
      <dgm:prSet presAssocID="{0D464863-EC01-41BF-838E-0DCBDE4DAC5D}" presName="sibTrans" presStyleCnt="0"/>
      <dgm:spPr/>
    </dgm:pt>
    <dgm:pt modelId="{982A919E-9E65-4BB0-9D92-66177CA761B5}" type="pres">
      <dgm:prSet presAssocID="{291047B0-0C88-4FA2-95CD-59EB040103EC}" presName="composite" presStyleCnt="0"/>
      <dgm:spPr/>
    </dgm:pt>
    <dgm:pt modelId="{AAA5CADE-2684-4576-B7A3-75C016186848}" type="pres">
      <dgm:prSet presAssocID="{291047B0-0C88-4FA2-95CD-59EB040103EC}" presName="Image" presStyleLbl="bgShp" presStyleIdx="1" presStyleCnt="12"/>
      <dgm:spPr>
        <a:blipFill rotWithShape="1">
          <a:blip xmlns:r="http://schemas.openxmlformats.org/officeDocument/2006/relationships" r:embed="rId2"/>
          <a:srcRect/>
          <a:stretch>
            <a:fillRect t="-60000" b="-60000"/>
          </a:stretch>
        </a:blipFill>
      </dgm:spPr>
    </dgm:pt>
    <dgm:pt modelId="{88F2BC87-E93A-4AEA-8B2C-3E3E6D063614}" type="pres">
      <dgm:prSet presAssocID="{291047B0-0C88-4FA2-95CD-59EB040103EC}" presName="Parent" presStyleLbl="node0" presStyleIdx="1" presStyleCnt="12" custLinFactNeighborX="-7726" custLinFactNeighborY="11581">
        <dgm:presLayoutVars>
          <dgm:bulletEnabled val="1"/>
        </dgm:presLayoutVars>
      </dgm:prSet>
      <dgm:spPr/>
    </dgm:pt>
    <dgm:pt modelId="{2AAF8045-401B-4061-83F5-9472A933294E}" type="pres">
      <dgm:prSet presAssocID="{CC13EDA1-4A43-41DF-BC28-CE310587C58C}" presName="sibTrans" presStyleCnt="0"/>
      <dgm:spPr/>
    </dgm:pt>
    <dgm:pt modelId="{E382DA15-E29A-45B8-B237-A6480853BE76}" type="pres">
      <dgm:prSet presAssocID="{0AC372CD-AEF9-43A2-AFE7-3ACD84C3A10D}" presName="composite" presStyleCnt="0"/>
      <dgm:spPr/>
    </dgm:pt>
    <dgm:pt modelId="{62DBE511-E997-4ED5-97A9-2C4C70AD8BF9}" type="pres">
      <dgm:prSet presAssocID="{0AC372CD-AEF9-43A2-AFE7-3ACD84C3A10D}" presName="Image" presStyleLbl="bgShp" presStyleIdx="2" presStyleCnt="12"/>
      <dgm:spPr>
        <a:blipFill rotWithShape="1">
          <a:blip xmlns:r="http://schemas.openxmlformats.org/officeDocument/2006/relationships" r:embed="rId3"/>
          <a:srcRect/>
          <a:stretch>
            <a:fillRect t="-25000" b="-25000"/>
          </a:stretch>
        </a:blipFill>
      </dgm:spPr>
    </dgm:pt>
    <dgm:pt modelId="{AAF0E751-EB18-40CC-A04B-C4DD54052402}" type="pres">
      <dgm:prSet presAssocID="{0AC372CD-AEF9-43A2-AFE7-3ACD84C3A10D}" presName="Parent" presStyleLbl="node0" presStyleIdx="2" presStyleCnt="12" custLinFactNeighborX="-12447" custLinFactNeighborY="11581">
        <dgm:presLayoutVars>
          <dgm:bulletEnabled val="1"/>
        </dgm:presLayoutVars>
      </dgm:prSet>
      <dgm:spPr/>
    </dgm:pt>
    <dgm:pt modelId="{42E2B376-BCB8-47C0-B8F6-1748A51B6D7C}" type="pres">
      <dgm:prSet presAssocID="{08FE750C-E358-4F91-BBF0-1ABA09279175}" presName="sibTrans" presStyleCnt="0"/>
      <dgm:spPr/>
    </dgm:pt>
    <dgm:pt modelId="{E7A7B094-7EA0-4936-BE7E-70381AD25A35}" type="pres">
      <dgm:prSet presAssocID="{AFD70BE8-17BE-4D51-AE37-B5890E7DF651}" presName="composite" presStyleCnt="0"/>
      <dgm:spPr/>
    </dgm:pt>
    <dgm:pt modelId="{6E62CEB0-6884-4B16-A140-A8028FC83ABE}" type="pres">
      <dgm:prSet presAssocID="{AFD70BE8-17BE-4D51-AE37-B5890E7DF651}" presName="Image" presStyleLbl="bgShp" presStyleIdx="3" presStyleCnt="12"/>
      <dgm:spPr>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40000" b="-40000"/>
          </a:stretch>
        </a:blipFill>
      </dgm:spPr>
    </dgm:pt>
    <dgm:pt modelId="{719CDEE6-6AA4-47C4-930B-8A2D0F15D42D}" type="pres">
      <dgm:prSet presAssocID="{AFD70BE8-17BE-4D51-AE37-B5890E7DF651}" presName="Parent" presStyleLbl="node0" presStyleIdx="3" presStyleCnt="12" custLinFactNeighborX="-16190" custLinFactNeighborY="11581">
        <dgm:presLayoutVars>
          <dgm:bulletEnabled val="1"/>
        </dgm:presLayoutVars>
      </dgm:prSet>
      <dgm:spPr/>
    </dgm:pt>
    <dgm:pt modelId="{88D21A13-D036-4692-B4F8-73551835D776}" type="pres">
      <dgm:prSet presAssocID="{D7434D0A-97E0-41AA-A2E1-8BFD043ED367}" presName="sibTrans" presStyleCnt="0"/>
      <dgm:spPr/>
    </dgm:pt>
    <dgm:pt modelId="{3AB296E2-85F5-4876-B17E-CC5B7CACE056}" type="pres">
      <dgm:prSet presAssocID="{66F290F2-756A-4DE1-83CB-B489E4B0F322}" presName="composite" presStyleCnt="0"/>
      <dgm:spPr/>
    </dgm:pt>
    <dgm:pt modelId="{5C77BA56-90FD-473D-8F89-2E950CFC3619}" type="pres">
      <dgm:prSet presAssocID="{66F290F2-756A-4DE1-83CB-B489E4B0F322}" presName="Image" presStyleLbl="bgShp" presStyleIdx="4" presStyleCnt="12" custAng="5400000" custScaleX="73486"/>
      <dgm:spPr>
        <a:blipFill rotWithShape="1">
          <a:blip xmlns:r="http://schemas.openxmlformats.org/officeDocument/2006/relationships" r:embed="rId5" cstate="print">
            <a:extLst>
              <a:ext uri="{28A0092B-C50C-407E-A947-70E740481C1C}">
                <a14:useLocalDpi xmlns:a14="http://schemas.microsoft.com/office/drawing/2010/main" val="0"/>
              </a:ext>
            </a:extLst>
          </a:blip>
          <a:srcRect/>
          <a:stretch>
            <a:fillRect t="-1000" b="-1000"/>
          </a:stretch>
        </a:blipFill>
      </dgm:spPr>
    </dgm:pt>
    <dgm:pt modelId="{C2A3D334-942B-4D0A-8AA9-12C876583441}" type="pres">
      <dgm:prSet presAssocID="{66F290F2-756A-4DE1-83CB-B489E4B0F322}" presName="Parent" presStyleLbl="node0" presStyleIdx="4" presStyleCnt="12" custScaleX="97271" custLinFactNeighborX="-11804" custLinFactNeighborY="15879">
        <dgm:presLayoutVars>
          <dgm:bulletEnabled val="1"/>
        </dgm:presLayoutVars>
      </dgm:prSet>
      <dgm:spPr/>
    </dgm:pt>
    <dgm:pt modelId="{9E95B59F-66FF-4C0B-984B-19F092CD5D7D}" type="pres">
      <dgm:prSet presAssocID="{D4A7494D-5D34-454A-AEC8-A10787B373F1}" presName="sibTrans" presStyleCnt="0"/>
      <dgm:spPr/>
    </dgm:pt>
    <dgm:pt modelId="{70309EBE-1DDE-4555-B22C-CFE99F1CC8B3}" type="pres">
      <dgm:prSet presAssocID="{C938D079-64E3-4F64-BBB9-180495E18960}" presName="composite" presStyleCnt="0"/>
      <dgm:spPr/>
    </dgm:pt>
    <dgm:pt modelId="{5584A16D-9AF1-4402-A6ED-C9D512BC6BE5}" type="pres">
      <dgm:prSet presAssocID="{C938D079-64E3-4F64-BBB9-180495E18960}" presName="Image" presStyleLbl="bgShp" presStyleIdx="5" presStyleCnt="12"/>
      <dgm:spPr>
        <a:blipFill rotWithShape="1">
          <a:blip xmlns:r="http://schemas.openxmlformats.org/officeDocument/2006/relationships" r:embed="rId6"/>
          <a:srcRect/>
          <a:stretch>
            <a:fillRect t="-38000" b="-38000"/>
          </a:stretch>
        </a:blipFill>
      </dgm:spPr>
    </dgm:pt>
    <dgm:pt modelId="{32E1D169-A18F-4FC7-B122-3C50875E3AE4}" type="pres">
      <dgm:prSet presAssocID="{C938D079-64E3-4F64-BBB9-180495E18960}" presName="Parent" presStyleLbl="node0" presStyleIdx="5" presStyleCnt="12">
        <dgm:presLayoutVars>
          <dgm:bulletEnabled val="1"/>
        </dgm:presLayoutVars>
      </dgm:prSet>
      <dgm:spPr/>
    </dgm:pt>
    <dgm:pt modelId="{692D0DAD-5942-4DA9-AD51-9D91FCD82242}" type="pres">
      <dgm:prSet presAssocID="{692E225A-5C82-4A4C-A053-7CD413B58353}" presName="sibTrans" presStyleCnt="0"/>
      <dgm:spPr/>
    </dgm:pt>
    <dgm:pt modelId="{C0900B41-9387-4C43-A484-A9B2F04042C5}" type="pres">
      <dgm:prSet presAssocID="{2721616C-80F0-4E4B-8C1B-E521B19CC6B8}" presName="composite" presStyleCnt="0"/>
      <dgm:spPr/>
    </dgm:pt>
    <dgm:pt modelId="{7BF8577C-C21A-4B23-AB81-8D615C1ECD84}" type="pres">
      <dgm:prSet presAssocID="{2721616C-80F0-4E4B-8C1B-E521B19CC6B8}" presName="Image" presStyleLbl="bgShp" presStyleIdx="6" presStyleCnt="12"/>
      <dgm:spPr>
        <a:blipFill rotWithShape="1">
          <a:blip xmlns:r="http://schemas.openxmlformats.org/officeDocument/2006/relationships" r:embed="rId7"/>
          <a:srcRect/>
          <a:stretch>
            <a:fillRect t="-44000" b="-44000"/>
          </a:stretch>
        </a:blipFill>
      </dgm:spPr>
    </dgm:pt>
    <dgm:pt modelId="{038A7C02-72B4-4C16-82A3-935AA62AC791}" type="pres">
      <dgm:prSet presAssocID="{2721616C-80F0-4E4B-8C1B-E521B19CC6B8}" presName="Parent" presStyleLbl="node0" presStyleIdx="6" presStyleCnt="12">
        <dgm:presLayoutVars>
          <dgm:bulletEnabled val="1"/>
        </dgm:presLayoutVars>
      </dgm:prSet>
      <dgm:spPr/>
    </dgm:pt>
    <dgm:pt modelId="{186AC130-05F2-46BC-944A-C68DE8D9F38D}" type="pres">
      <dgm:prSet presAssocID="{50E79AB7-A03E-4AFD-B785-28458A8FAE22}" presName="sibTrans" presStyleCnt="0"/>
      <dgm:spPr/>
    </dgm:pt>
    <dgm:pt modelId="{E431D5F6-E9FD-48BD-A598-0F80B6C851FE}" type="pres">
      <dgm:prSet presAssocID="{76CABBBE-0F93-47D9-AD4E-79BFD77F1F91}" presName="composite" presStyleCnt="0"/>
      <dgm:spPr/>
    </dgm:pt>
    <dgm:pt modelId="{0F3E0B5F-1187-4F95-A459-0FB81B668E41}" type="pres">
      <dgm:prSet presAssocID="{76CABBBE-0F93-47D9-AD4E-79BFD77F1F91}" presName="Image" presStyleLbl="bgShp" presStyleIdx="7" presStyleCnt="12"/>
      <dgm:spPr>
        <a:blipFill rotWithShape="1">
          <a:blip xmlns:r="http://schemas.openxmlformats.org/officeDocument/2006/relationships" r:embed="rId8"/>
          <a:srcRect/>
          <a:stretch>
            <a:fillRect t="-50000" b="-50000"/>
          </a:stretch>
        </a:blipFill>
      </dgm:spPr>
    </dgm:pt>
    <dgm:pt modelId="{863F48F2-40E8-49CC-BC82-8B193B8DA7AC}" type="pres">
      <dgm:prSet presAssocID="{76CABBBE-0F93-47D9-AD4E-79BFD77F1F91}" presName="Parent" presStyleLbl="node0" presStyleIdx="7" presStyleCnt="12" custLinFactNeighborX="-15688" custLinFactNeighborY="15879">
        <dgm:presLayoutVars>
          <dgm:bulletEnabled val="1"/>
        </dgm:presLayoutVars>
      </dgm:prSet>
      <dgm:spPr/>
    </dgm:pt>
    <dgm:pt modelId="{4ACA35E3-B47E-4894-91BB-1A1A57788D0E}" type="pres">
      <dgm:prSet presAssocID="{26CC3D4C-B31B-4A89-881C-D81D42E3F6A1}" presName="sibTrans" presStyleCnt="0"/>
      <dgm:spPr/>
    </dgm:pt>
    <dgm:pt modelId="{6541AD88-8798-4914-8020-2D145D21BD27}" type="pres">
      <dgm:prSet presAssocID="{67C889A3-BDA0-4AE3-B79F-9CB47D9C73F0}" presName="composite" presStyleCnt="0"/>
      <dgm:spPr/>
    </dgm:pt>
    <dgm:pt modelId="{B6F1431D-70F5-4B70-B4FC-402DA8969F1D}" type="pres">
      <dgm:prSet presAssocID="{67C889A3-BDA0-4AE3-B79F-9CB47D9C73F0}" presName="Image" presStyleLbl="bgShp" presStyleIdx="8" presStyleCnt="12"/>
      <dgm:spPr>
        <a:blipFill rotWithShape="1">
          <a:blip xmlns:r="http://schemas.openxmlformats.org/officeDocument/2006/relationships" r:embed="rId9"/>
          <a:srcRect/>
          <a:stretch>
            <a:fillRect t="-36000" b="-36000"/>
          </a:stretch>
        </a:blipFill>
      </dgm:spPr>
    </dgm:pt>
    <dgm:pt modelId="{AE1F0795-863F-40A7-B86C-0B8D1E954F9B}" type="pres">
      <dgm:prSet presAssocID="{67C889A3-BDA0-4AE3-B79F-9CB47D9C73F0}" presName="Parent" presStyleLbl="node0" presStyleIdx="8" presStyleCnt="12">
        <dgm:presLayoutVars>
          <dgm:bulletEnabled val="1"/>
        </dgm:presLayoutVars>
      </dgm:prSet>
      <dgm:spPr/>
    </dgm:pt>
    <dgm:pt modelId="{D5C028F4-C426-482B-BB0A-4D63AB9B12DE}" type="pres">
      <dgm:prSet presAssocID="{CEDEA25E-A62F-428E-967C-AF8AC1CEE1E4}" presName="sibTrans" presStyleCnt="0"/>
      <dgm:spPr/>
    </dgm:pt>
    <dgm:pt modelId="{7C84CA96-8C75-4DD6-A01B-CF4023A7DAAC}" type="pres">
      <dgm:prSet presAssocID="{4961155B-3DEE-4E57-81DE-48B4BB40CB79}" presName="composite" presStyleCnt="0"/>
      <dgm:spPr/>
    </dgm:pt>
    <dgm:pt modelId="{B5221D01-1A96-4C56-B5C9-E76E37A39092}" type="pres">
      <dgm:prSet presAssocID="{4961155B-3DEE-4E57-81DE-48B4BB40CB79}" presName="Image" presStyleLbl="bgShp" presStyleIdx="9" presStyleCnt="12"/>
      <dgm:spPr>
        <a:blipFill rotWithShape="1">
          <a:blip xmlns:r="http://schemas.openxmlformats.org/officeDocument/2006/relationships" r:embed="rId10"/>
          <a:srcRect/>
          <a:stretch>
            <a:fillRect t="-33000" b="-33000"/>
          </a:stretch>
        </a:blipFill>
      </dgm:spPr>
    </dgm:pt>
    <dgm:pt modelId="{2EAEE2DF-7D3D-45F1-9A3B-7DDA5E50515B}" type="pres">
      <dgm:prSet presAssocID="{4961155B-3DEE-4E57-81DE-48B4BB40CB79}" presName="Parent" presStyleLbl="node0" presStyleIdx="9" presStyleCnt="12" custLinFactNeighborX="-12990" custLinFactNeighborY="-4477">
        <dgm:presLayoutVars>
          <dgm:bulletEnabled val="1"/>
        </dgm:presLayoutVars>
      </dgm:prSet>
      <dgm:spPr/>
    </dgm:pt>
    <dgm:pt modelId="{0DC45172-B45B-4F24-8241-6CF729599999}" type="pres">
      <dgm:prSet presAssocID="{C7C3481E-2ED7-4489-AA02-C898CCEF09F4}" presName="sibTrans" presStyleCnt="0"/>
      <dgm:spPr/>
    </dgm:pt>
    <dgm:pt modelId="{4C5317F4-FB7A-4F41-9C56-D5BB5B44CFCE}" type="pres">
      <dgm:prSet presAssocID="{79AA76F0-29BC-4BC4-B0D2-E372F9C97966}" presName="composite" presStyleCnt="0"/>
      <dgm:spPr/>
    </dgm:pt>
    <dgm:pt modelId="{33D78FBF-F07C-4E0B-9E88-F0F7BB780A30}" type="pres">
      <dgm:prSet presAssocID="{79AA76F0-29BC-4BC4-B0D2-E372F9C97966}" presName="Image" presStyleLbl="bgShp" presStyleIdx="10" presStyleCnt="12"/>
      <dgm:spPr>
        <a:blipFill rotWithShape="1">
          <a:blip xmlns:r="http://schemas.openxmlformats.org/officeDocument/2006/relationships" r:embed="rId11" cstate="print">
            <a:extLst>
              <a:ext uri="{28A0092B-C50C-407E-A947-70E740481C1C}">
                <a14:useLocalDpi xmlns:a14="http://schemas.microsoft.com/office/drawing/2010/main" val="0"/>
              </a:ext>
            </a:extLst>
          </a:blip>
          <a:srcRect/>
          <a:stretch>
            <a:fillRect t="-40000" b="-40000"/>
          </a:stretch>
        </a:blipFill>
      </dgm:spPr>
    </dgm:pt>
    <dgm:pt modelId="{7A5B1AD2-5915-4169-B80A-5291073BA319}" type="pres">
      <dgm:prSet presAssocID="{79AA76F0-29BC-4BC4-B0D2-E372F9C97966}" presName="Parent" presStyleLbl="node0" presStyleIdx="10" presStyleCnt="12" custLinFactNeighborX="-13597" custLinFactNeighborY="-180">
        <dgm:presLayoutVars>
          <dgm:bulletEnabled val="1"/>
        </dgm:presLayoutVars>
      </dgm:prSet>
      <dgm:spPr/>
    </dgm:pt>
    <dgm:pt modelId="{083E7280-EA97-45CA-B852-DCD23BE6D2CD}" type="pres">
      <dgm:prSet presAssocID="{9C9A4B53-A58F-4D56-AD54-F0FF3273F898}" presName="sibTrans" presStyleCnt="0"/>
      <dgm:spPr/>
    </dgm:pt>
    <dgm:pt modelId="{0F4C46B7-2E81-48CA-BA5F-8D1D73FEDBA7}" type="pres">
      <dgm:prSet presAssocID="{DDA76D78-F039-4DF0-8E04-95DB8EC88D95}" presName="composite" presStyleCnt="0"/>
      <dgm:spPr/>
    </dgm:pt>
    <dgm:pt modelId="{A1EEFD0B-C547-4545-A6C1-A026E734673C}" type="pres">
      <dgm:prSet presAssocID="{DDA76D78-F039-4DF0-8E04-95DB8EC88D95}" presName="Image" presStyleLbl="bgShp" presStyleIdx="11" presStyleCnt="12"/>
      <dgm:spPr>
        <a:blipFill rotWithShape="1">
          <a:blip xmlns:r="http://schemas.openxmlformats.org/officeDocument/2006/relationships" r:embed="rId12" cstate="print">
            <a:extLst>
              <a:ext uri="{28A0092B-C50C-407E-A947-70E740481C1C}">
                <a14:useLocalDpi xmlns:a14="http://schemas.microsoft.com/office/drawing/2010/main" val="0"/>
              </a:ext>
            </a:extLst>
          </a:blip>
          <a:srcRect/>
          <a:stretch>
            <a:fillRect t="-40000" b="-40000"/>
          </a:stretch>
        </a:blipFill>
      </dgm:spPr>
    </dgm:pt>
    <dgm:pt modelId="{649CE762-E77C-495C-BE76-4CE77385BED8}" type="pres">
      <dgm:prSet presAssocID="{DDA76D78-F039-4DF0-8E04-95DB8EC88D95}" presName="Parent" presStyleLbl="node0" presStyleIdx="11" presStyleCnt="12" custLinFactNeighborX="-12447" custLinFactNeighborY="-180">
        <dgm:presLayoutVars>
          <dgm:bulletEnabled val="1"/>
        </dgm:presLayoutVars>
      </dgm:prSet>
      <dgm:spPr/>
    </dgm:pt>
  </dgm:ptLst>
  <dgm:cxnLst>
    <dgm:cxn modelId="{E20A7C0B-38A5-4920-9DF0-1602EF7B20A0}" type="presOf" srcId="{0AC372CD-AEF9-43A2-AFE7-3ACD84C3A10D}" destId="{AAF0E751-EB18-40CC-A04B-C4DD54052402}" srcOrd="0" destOrd="0" presId="urn:microsoft.com/office/officeart/2008/layout/BendingPictureCaption"/>
    <dgm:cxn modelId="{942D3612-AC0B-4D37-98E6-AD9458852AC0}" type="presOf" srcId="{76CABBBE-0F93-47D9-AD4E-79BFD77F1F91}" destId="{863F48F2-40E8-49CC-BC82-8B193B8DA7AC}" srcOrd="0" destOrd="0" presId="urn:microsoft.com/office/officeart/2008/layout/BendingPictureCaption"/>
    <dgm:cxn modelId="{D6EC6E1E-9B17-46A8-B048-EDB62E25D188}" srcId="{68177FE2-E87C-410F-9424-EDA9101B6916}" destId="{92D71F7B-9E53-4694-9DBF-63472F15221F}" srcOrd="0" destOrd="0" parTransId="{7FC949D0-0BB7-40A0-A650-33BBEB00D22A}" sibTransId="{0D464863-EC01-41BF-838E-0DCBDE4DAC5D}"/>
    <dgm:cxn modelId="{727CFE1F-8FE9-4C90-B557-51FF79ADD64B}" srcId="{68177FE2-E87C-410F-9424-EDA9101B6916}" destId="{0AC372CD-AEF9-43A2-AFE7-3ACD84C3A10D}" srcOrd="2" destOrd="0" parTransId="{CC121321-B71E-4C3B-BA69-F0647D0F33B0}" sibTransId="{08FE750C-E358-4F91-BBF0-1ABA09279175}"/>
    <dgm:cxn modelId="{49C2735D-BC40-41FE-811A-41255655F37A}" srcId="{68177FE2-E87C-410F-9424-EDA9101B6916}" destId="{AFD70BE8-17BE-4D51-AE37-B5890E7DF651}" srcOrd="3" destOrd="0" parTransId="{FFAE2FFC-CE8D-4BD7-90EB-62513F943ECB}" sibTransId="{D7434D0A-97E0-41AA-A2E1-8BFD043ED367}"/>
    <dgm:cxn modelId="{33FA985F-F778-4FFC-871B-4C4793423787}" type="presOf" srcId="{68177FE2-E87C-410F-9424-EDA9101B6916}" destId="{0F9649FA-0F2B-4D49-9A9D-9E0D6F657BB4}" srcOrd="0" destOrd="0" presId="urn:microsoft.com/office/officeart/2008/layout/BendingPictureCaption"/>
    <dgm:cxn modelId="{BDAC3B6E-7D50-4AB1-9BEC-3707A26A1CF0}" srcId="{68177FE2-E87C-410F-9424-EDA9101B6916}" destId="{4961155B-3DEE-4E57-81DE-48B4BB40CB79}" srcOrd="9" destOrd="0" parTransId="{48C86BA5-2B03-46E0-8641-0FAE4DD3318F}" sibTransId="{C7C3481E-2ED7-4489-AA02-C898CCEF09F4}"/>
    <dgm:cxn modelId="{6FD32E73-0818-4B45-B6C4-BC96AA8F778E}" type="presOf" srcId="{4961155B-3DEE-4E57-81DE-48B4BB40CB79}" destId="{2EAEE2DF-7D3D-45F1-9A3B-7DDA5E50515B}" srcOrd="0" destOrd="0" presId="urn:microsoft.com/office/officeart/2008/layout/BendingPictureCaption"/>
    <dgm:cxn modelId="{4676AC54-D737-4DC4-AEC8-49D80EE1EE03}" srcId="{68177FE2-E87C-410F-9424-EDA9101B6916}" destId="{79AA76F0-29BC-4BC4-B0D2-E372F9C97966}" srcOrd="10" destOrd="0" parTransId="{A1780977-04FF-482F-AB17-BF8B7C6FB8A9}" sibTransId="{9C9A4B53-A58F-4D56-AD54-F0FF3273F898}"/>
    <dgm:cxn modelId="{B2DECF56-492B-45A3-881B-800FB7950D57}" srcId="{68177FE2-E87C-410F-9424-EDA9101B6916}" destId="{76CABBBE-0F93-47D9-AD4E-79BFD77F1F91}" srcOrd="7" destOrd="0" parTransId="{CE953293-6E06-451F-9AC4-A0ABB0AB1861}" sibTransId="{26CC3D4C-B31B-4A89-881C-D81D42E3F6A1}"/>
    <dgm:cxn modelId="{B0BA6177-DBB7-4EB2-8EB8-399130BC664F}" type="presOf" srcId="{291047B0-0C88-4FA2-95CD-59EB040103EC}" destId="{88F2BC87-E93A-4AEA-8B2C-3E3E6D063614}" srcOrd="0" destOrd="0" presId="urn:microsoft.com/office/officeart/2008/layout/BendingPictureCaption"/>
    <dgm:cxn modelId="{B71ED886-2BB8-48C5-8B7A-1DD26D2F5C3F}" type="presOf" srcId="{66F290F2-756A-4DE1-83CB-B489E4B0F322}" destId="{C2A3D334-942B-4D0A-8AA9-12C876583441}" srcOrd="0" destOrd="0" presId="urn:microsoft.com/office/officeart/2008/layout/BendingPictureCaption"/>
    <dgm:cxn modelId="{5A86428B-D982-4531-8319-037BCC7162C2}" type="presOf" srcId="{AFD70BE8-17BE-4D51-AE37-B5890E7DF651}" destId="{719CDEE6-6AA4-47C4-930B-8A2D0F15D42D}" srcOrd="0" destOrd="0" presId="urn:microsoft.com/office/officeart/2008/layout/BendingPictureCaption"/>
    <dgm:cxn modelId="{8EBB0D8C-4383-4777-B4EA-90BBE6ACB5C6}" srcId="{68177FE2-E87C-410F-9424-EDA9101B6916}" destId="{67C889A3-BDA0-4AE3-B79F-9CB47D9C73F0}" srcOrd="8" destOrd="0" parTransId="{266B9DC1-3D8C-4E48-87DD-B75A05EB5137}" sibTransId="{CEDEA25E-A62F-428E-967C-AF8AC1CEE1E4}"/>
    <dgm:cxn modelId="{EDF0658E-A99C-4CBE-A24C-8398176DF705}" srcId="{68177FE2-E87C-410F-9424-EDA9101B6916}" destId="{DDA76D78-F039-4DF0-8E04-95DB8EC88D95}" srcOrd="11" destOrd="0" parTransId="{BAE0A815-3116-44EA-9EDA-54605CC8CC79}" sibTransId="{38200A0D-9A3B-4E5F-BD7A-379F8ECA660C}"/>
    <dgm:cxn modelId="{DAF3ED8F-E712-4EEA-A9A8-E40240082728}" type="presOf" srcId="{C938D079-64E3-4F64-BBB9-180495E18960}" destId="{32E1D169-A18F-4FC7-B122-3C50875E3AE4}" srcOrd="0" destOrd="0" presId="urn:microsoft.com/office/officeart/2008/layout/BendingPictureCaption"/>
    <dgm:cxn modelId="{C0A68195-4632-4CA7-A929-D80BE351D810}" type="presOf" srcId="{92D71F7B-9E53-4694-9DBF-63472F15221F}" destId="{A11D78F1-28E9-4629-BDAA-3F3A1864D479}" srcOrd="0" destOrd="0" presId="urn:microsoft.com/office/officeart/2008/layout/BendingPictureCaption"/>
    <dgm:cxn modelId="{9CDF13A6-A645-41C2-845E-2E4006FE6A89}" type="presOf" srcId="{67C889A3-BDA0-4AE3-B79F-9CB47D9C73F0}" destId="{AE1F0795-863F-40A7-B86C-0B8D1E954F9B}" srcOrd="0" destOrd="0" presId="urn:microsoft.com/office/officeart/2008/layout/BendingPictureCaption"/>
    <dgm:cxn modelId="{43BD11AD-C763-4668-8554-7FB4EAE8AF3E}" type="presOf" srcId="{2721616C-80F0-4E4B-8C1B-E521B19CC6B8}" destId="{038A7C02-72B4-4C16-82A3-935AA62AC791}" srcOrd="0" destOrd="0" presId="urn:microsoft.com/office/officeart/2008/layout/BendingPictureCaption"/>
    <dgm:cxn modelId="{F878F8AE-B75B-45C2-95FE-A364B929D5C5}" srcId="{68177FE2-E87C-410F-9424-EDA9101B6916}" destId="{66F290F2-756A-4DE1-83CB-B489E4B0F322}" srcOrd="4" destOrd="0" parTransId="{0FC12659-C81A-4D97-8079-778DCEB8B479}" sibTransId="{D4A7494D-5D34-454A-AEC8-A10787B373F1}"/>
    <dgm:cxn modelId="{A63D55B3-F148-4206-9BA3-3597620EC66D}" type="presOf" srcId="{79AA76F0-29BC-4BC4-B0D2-E372F9C97966}" destId="{7A5B1AD2-5915-4169-B80A-5291073BA319}" srcOrd="0" destOrd="0" presId="urn:microsoft.com/office/officeart/2008/layout/BendingPictureCaption"/>
    <dgm:cxn modelId="{100A01BB-F4BF-4E6E-8F8A-17D20B42EBB5}" srcId="{68177FE2-E87C-410F-9424-EDA9101B6916}" destId="{C938D079-64E3-4F64-BBB9-180495E18960}" srcOrd="5" destOrd="0" parTransId="{57104AD6-8DD9-4806-994A-77BD398F0386}" sibTransId="{692E225A-5C82-4A4C-A053-7CD413B58353}"/>
    <dgm:cxn modelId="{3617F9C4-7339-45F4-A4F6-437852280B77}" type="presOf" srcId="{DDA76D78-F039-4DF0-8E04-95DB8EC88D95}" destId="{649CE762-E77C-495C-BE76-4CE77385BED8}" srcOrd="0" destOrd="0" presId="urn:microsoft.com/office/officeart/2008/layout/BendingPictureCaption"/>
    <dgm:cxn modelId="{C71762C6-66DB-42E8-B322-66B9508006F6}" srcId="{68177FE2-E87C-410F-9424-EDA9101B6916}" destId="{2721616C-80F0-4E4B-8C1B-E521B19CC6B8}" srcOrd="6" destOrd="0" parTransId="{C2378EBE-3E03-4EE4-90B3-678988EBD803}" sibTransId="{50E79AB7-A03E-4AFD-B785-28458A8FAE22}"/>
    <dgm:cxn modelId="{42DF16E5-F831-4FF8-AB1A-61F88558BBFE}" srcId="{68177FE2-E87C-410F-9424-EDA9101B6916}" destId="{291047B0-0C88-4FA2-95CD-59EB040103EC}" srcOrd="1" destOrd="0" parTransId="{39ED18C5-BE98-4E8D-A15B-74C7C9AE2B11}" sibTransId="{CC13EDA1-4A43-41DF-BC28-CE310587C58C}"/>
    <dgm:cxn modelId="{4B49EA3C-2CDA-4CD3-9A75-C50FF1813D8F}" type="presParOf" srcId="{0F9649FA-0F2B-4D49-9A9D-9E0D6F657BB4}" destId="{C50195BC-7B1A-4F7A-A28D-D80583E70120}" srcOrd="0" destOrd="0" presId="urn:microsoft.com/office/officeart/2008/layout/BendingPictureCaption"/>
    <dgm:cxn modelId="{B45A37EC-5136-452A-81A9-A23359FDFBED}" type="presParOf" srcId="{C50195BC-7B1A-4F7A-A28D-D80583E70120}" destId="{34011CCB-48AF-4C05-AC4B-D18E6A3FCFBC}" srcOrd="0" destOrd="0" presId="urn:microsoft.com/office/officeart/2008/layout/BendingPictureCaption"/>
    <dgm:cxn modelId="{4CFFF00F-9718-48A4-A884-C9CF75F7783B}" type="presParOf" srcId="{C50195BC-7B1A-4F7A-A28D-D80583E70120}" destId="{A11D78F1-28E9-4629-BDAA-3F3A1864D479}" srcOrd="1" destOrd="0" presId="urn:microsoft.com/office/officeart/2008/layout/BendingPictureCaption"/>
    <dgm:cxn modelId="{9D5D0977-F2CF-4BB9-B9A6-3CBFE4F7594A}" type="presParOf" srcId="{0F9649FA-0F2B-4D49-9A9D-9E0D6F657BB4}" destId="{28806D05-21DC-4727-9E7C-5900D37B5A29}" srcOrd="1" destOrd="0" presId="urn:microsoft.com/office/officeart/2008/layout/BendingPictureCaption"/>
    <dgm:cxn modelId="{C955D034-D612-44F2-AD47-03AEF0CA7628}" type="presParOf" srcId="{0F9649FA-0F2B-4D49-9A9D-9E0D6F657BB4}" destId="{982A919E-9E65-4BB0-9D92-66177CA761B5}" srcOrd="2" destOrd="0" presId="urn:microsoft.com/office/officeart/2008/layout/BendingPictureCaption"/>
    <dgm:cxn modelId="{0D72B69E-E285-4080-B55B-198EB4810212}" type="presParOf" srcId="{982A919E-9E65-4BB0-9D92-66177CA761B5}" destId="{AAA5CADE-2684-4576-B7A3-75C016186848}" srcOrd="0" destOrd="0" presId="urn:microsoft.com/office/officeart/2008/layout/BendingPictureCaption"/>
    <dgm:cxn modelId="{6D577285-FF89-4189-930D-1ED3814E13C8}" type="presParOf" srcId="{982A919E-9E65-4BB0-9D92-66177CA761B5}" destId="{88F2BC87-E93A-4AEA-8B2C-3E3E6D063614}" srcOrd="1" destOrd="0" presId="urn:microsoft.com/office/officeart/2008/layout/BendingPictureCaption"/>
    <dgm:cxn modelId="{9348D630-5B5B-40E9-B5CD-934EAC2A9FA2}" type="presParOf" srcId="{0F9649FA-0F2B-4D49-9A9D-9E0D6F657BB4}" destId="{2AAF8045-401B-4061-83F5-9472A933294E}" srcOrd="3" destOrd="0" presId="urn:microsoft.com/office/officeart/2008/layout/BendingPictureCaption"/>
    <dgm:cxn modelId="{D2A84E9C-D88B-4869-B21C-C3B7EDF7F1C3}" type="presParOf" srcId="{0F9649FA-0F2B-4D49-9A9D-9E0D6F657BB4}" destId="{E382DA15-E29A-45B8-B237-A6480853BE76}" srcOrd="4" destOrd="0" presId="urn:microsoft.com/office/officeart/2008/layout/BendingPictureCaption"/>
    <dgm:cxn modelId="{6FD3F137-9658-41CB-AD7C-9339DCB1561F}" type="presParOf" srcId="{E382DA15-E29A-45B8-B237-A6480853BE76}" destId="{62DBE511-E997-4ED5-97A9-2C4C70AD8BF9}" srcOrd="0" destOrd="0" presId="urn:microsoft.com/office/officeart/2008/layout/BendingPictureCaption"/>
    <dgm:cxn modelId="{D58435FE-65B5-418B-841A-C5658C6AF5A4}" type="presParOf" srcId="{E382DA15-E29A-45B8-B237-A6480853BE76}" destId="{AAF0E751-EB18-40CC-A04B-C4DD54052402}" srcOrd="1" destOrd="0" presId="urn:microsoft.com/office/officeart/2008/layout/BendingPictureCaption"/>
    <dgm:cxn modelId="{35B31150-9840-4AAD-8D35-1D1FC68A87EF}" type="presParOf" srcId="{0F9649FA-0F2B-4D49-9A9D-9E0D6F657BB4}" destId="{42E2B376-BCB8-47C0-B8F6-1748A51B6D7C}" srcOrd="5" destOrd="0" presId="urn:microsoft.com/office/officeart/2008/layout/BendingPictureCaption"/>
    <dgm:cxn modelId="{322229F9-DF08-433F-B5B1-621DCD446744}" type="presParOf" srcId="{0F9649FA-0F2B-4D49-9A9D-9E0D6F657BB4}" destId="{E7A7B094-7EA0-4936-BE7E-70381AD25A35}" srcOrd="6" destOrd="0" presId="urn:microsoft.com/office/officeart/2008/layout/BendingPictureCaption"/>
    <dgm:cxn modelId="{A977D62A-0083-439B-B3E6-B80DC8933F42}" type="presParOf" srcId="{E7A7B094-7EA0-4936-BE7E-70381AD25A35}" destId="{6E62CEB0-6884-4B16-A140-A8028FC83ABE}" srcOrd="0" destOrd="0" presId="urn:microsoft.com/office/officeart/2008/layout/BendingPictureCaption"/>
    <dgm:cxn modelId="{41868B7B-BBE9-42AF-A527-E65279CAAA63}" type="presParOf" srcId="{E7A7B094-7EA0-4936-BE7E-70381AD25A35}" destId="{719CDEE6-6AA4-47C4-930B-8A2D0F15D42D}" srcOrd="1" destOrd="0" presId="urn:microsoft.com/office/officeart/2008/layout/BendingPictureCaption"/>
    <dgm:cxn modelId="{6274C86D-8B4D-40EC-B716-20F247BCD4B8}" type="presParOf" srcId="{0F9649FA-0F2B-4D49-9A9D-9E0D6F657BB4}" destId="{88D21A13-D036-4692-B4F8-73551835D776}" srcOrd="7" destOrd="0" presId="urn:microsoft.com/office/officeart/2008/layout/BendingPictureCaption"/>
    <dgm:cxn modelId="{10BB7E2C-F96E-4757-8FB5-C1618D571E3F}" type="presParOf" srcId="{0F9649FA-0F2B-4D49-9A9D-9E0D6F657BB4}" destId="{3AB296E2-85F5-4876-B17E-CC5B7CACE056}" srcOrd="8" destOrd="0" presId="urn:microsoft.com/office/officeart/2008/layout/BendingPictureCaption"/>
    <dgm:cxn modelId="{AD5F91E6-4391-4B0D-948B-B60881CED70A}" type="presParOf" srcId="{3AB296E2-85F5-4876-B17E-CC5B7CACE056}" destId="{5C77BA56-90FD-473D-8F89-2E950CFC3619}" srcOrd="0" destOrd="0" presId="urn:microsoft.com/office/officeart/2008/layout/BendingPictureCaption"/>
    <dgm:cxn modelId="{DEFE5FED-0A21-4474-BC74-38BE8B4FF180}" type="presParOf" srcId="{3AB296E2-85F5-4876-B17E-CC5B7CACE056}" destId="{C2A3D334-942B-4D0A-8AA9-12C876583441}" srcOrd="1" destOrd="0" presId="urn:microsoft.com/office/officeart/2008/layout/BendingPictureCaption"/>
    <dgm:cxn modelId="{EDAE9BAF-E60C-478A-9812-382EA3BCCDE3}" type="presParOf" srcId="{0F9649FA-0F2B-4D49-9A9D-9E0D6F657BB4}" destId="{9E95B59F-66FF-4C0B-984B-19F092CD5D7D}" srcOrd="9" destOrd="0" presId="urn:microsoft.com/office/officeart/2008/layout/BendingPictureCaption"/>
    <dgm:cxn modelId="{9D0795E2-45EB-4D1E-95EF-78F206003FB2}" type="presParOf" srcId="{0F9649FA-0F2B-4D49-9A9D-9E0D6F657BB4}" destId="{70309EBE-1DDE-4555-B22C-CFE99F1CC8B3}" srcOrd="10" destOrd="0" presId="urn:microsoft.com/office/officeart/2008/layout/BendingPictureCaption"/>
    <dgm:cxn modelId="{39A64100-F79B-400D-B0AF-6FD5D54579B6}" type="presParOf" srcId="{70309EBE-1DDE-4555-B22C-CFE99F1CC8B3}" destId="{5584A16D-9AF1-4402-A6ED-C9D512BC6BE5}" srcOrd="0" destOrd="0" presId="urn:microsoft.com/office/officeart/2008/layout/BendingPictureCaption"/>
    <dgm:cxn modelId="{F64EFBFF-24BC-427F-829D-A23EB902F34B}" type="presParOf" srcId="{70309EBE-1DDE-4555-B22C-CFE99F1CC8B3}" destId="{32E1D169-A18F-4FC7-B122-3C50875E3AE4}" srcOrd="1" destOrd="0" presId="urn:microsoft.com/office/officeart/2008/layout/BendingPictureCaption"/>
    <dgm:cxn modelId="{2DCBC0E7-F8A4-431A-A882-3A4270575B0D}" type="presParOf" srcId="{0F9649FA-0F2B-4D49-9A9D-9E0D6F657BB4}" destId="{692D0DAD-5942-4DA9-AD51-9D91FCD82242}" srcOrd="11" destOrd="0" presId="urn:microsoft.com/office/officeart/2008/layout/BendingPictureCaption"/>
    <dgm:cxn modelId="{65FD7831-9E4B-49FC-9D32-1CE588DDDA51}" type="presParOf" srcId="{0F9649FA-0F2B-4D49-9A9D-9E0D6F657BB4}" destId="{C0900B41-9387-4C43-A484-A9B2F04042C5}" srcOrd="12" destOrd="0" presId="urn:microsoft.com/office/officeart/2008/layout/BendingPictureCaption"/>
    <dgm:cxn modelId="{930899A4-8FFF-4BC8-8EF2-9066AE9777DA}" type="presParOf" srcId="{C0900B41-9387-4C43-A484-A9B2F04042C5}" destId="{7BF8577C-C21A-4B23-AB81-8D615C1ECD84}" srcOrd="0" destOrd="0" presId="urn:microsoft.com/office/officeart/2008/layout/BendingPictureCaption"/>
    <dgm:cxn modelId="{7E62BB1A-D2CD-47C0-BBF1-657A7702711B}" type="presParOf" srcId="{C0900B41-9387-4C43-A484-A9B2F04042C5}" destId="{038A7C02-72B4-4C16-82A3-935AA62AC791}" srcOrd="1" destOrd="0" presId="urn:microsoft.com/office/officeart/2008/layout/BendingPictureCaption"/>
    <dgm:cxn modelId="{48B4A438-F16B-434F-BC8C-FBEFF2808A5F}" type="presParOf" srcId="{0F9649FA-0F2B-4D49-9A9D-9E0D6F657BB4}" destId="{186AC130-05F2-46BC-944A-C68DE8D9F38D}" srcOrd="13" destOrd="0" presId="urn:microsoft.com/office/officeart/2008/layout/BendingPictureCaption"/>
    <dgm:cxn modelId="{97B652F6-D1AE-45B0-8D3F-F1AB8F322814}" type="presParOf" srcId="{0F9649FA-0F2B-4D49-9A9D-9E0D6F657BB4}" destId="{E431D5F6-E9FD-48BD-A598-0F80B6C851FE}" srcOrd="14" destOrd="0" presId="urn:microsoft.com/office/officeart/2008/layout/BendingPictureCaption"/>
    <dgm:cxn modelId="{4AF13BA8-52EA-4A83-B110-1389DF7F3DA4}" type="presParOf" srcId="{E431D5F6-E9FD-48BD-A598-0F80B6C851FE}" destId="{0F3E0B5F-1187-4F95-A459-0FB81B668E41}" srcOrd="0" destOrd="0" presId="urn:microsoft.com/office/officeart/2008/layout/BendingPictureCaption"/>
    <dgm:cxn modelId="{B2A4EF0C-D807-4426-B178-67A6CE12F2B9}" type="presParOf" srcId="{E431D5F6-E9FD-48BD-A598-0F80B6C851FE}" destId="{863F48F2-40E8-49CC-BC82-8B193B8DA7AC}" srcOrd="1" destOrd="0" presId="urn:microsoft.com/office/officeart/2008/layout/BendingPictureCaption"/>
    <dgm:cxn modelId="{687E7734-EBA6-48C4-8ADF-3238E3079A62}" type="presParOf" srcId="{0F9649FA-0F2B-4D49-9A9D-9E0D6F657BB4}" destId="{4ACA35E3-B47E-4894-91BB-1A1A57788D0E}" srcOrd="15" destOrd="0" presId="urn:microsoft.com/office/officeart/2008/layout/BendingPictureCaption"/>
    <dgm:cxn modelId="{C2584CF8-62D8-42B1-91F7-B67131D7E60E}" type="presParOf" srcId="{0F9649FA-0F2B-4D49-9A9D-9E0D6F657BB4}" destId="{6541AD88-8798-4914-8020-2D145D21BD27}" srcOrd="16" destOrd="0" presId="urn:microsoft.com/office/officeart/2008/layout/BendingPictureCaption"/>
    <dgm:cxn modelId="{E936D1CD-B946-4217-B7A5-BE54CC695650}" type="presParOf" srcId="{6541AD88-8798-4914-8020-2D145D21BD27}" destId="{B6F1431D-70F5-4B70-B4FC-402DA8969F1D}" srcOrd="0" destOrd="0" presId="urn:microsoft.com/office/officeart/2008/layout/BendingPictureCaption"/>
    <dgm:cxn modelId="{A9827F23-0BD3-4FB2-B994-F47F72A5C2BA}" type="presParOf" srcId="{6541AD88-8798-4914-8020-2D145D21BD27}" destId="{AE1F0795-863F-40A7-B86C-0B8D1E954F9B}" srcOrd="1" destOrd="0" presId="urn:microsoft.com/office/officeart/2008/layout/BendingPictureCaption"/>
    <dgm:cxn modelId="{5A52AECC-923C-4272-B5BA-57F4E52D1F27}" type="presParOf" srcId="{0F9649FA-0F2B-4D49-9A9D-9E0D6F657BB4}" destId="{D5C028F4-C426-482B-BB0A-4D63AB9B12DE}" srcOrd="17" destOrd="0" presId="urn:microsoft.com/office/officeart/2008/layout/BendingPictureCaption"/>
    <dgm:cxn modelId="{4D6AED00-8EBF-45F5-AEDC-D011529775BA}" type="presParOf" srcId="{0F9649FA-0F2B-4D49-9A9D-9E0D6F657BB4}" destId="{7C84CA96-8C75-4DD6-A01B-CF4023A7DAAC}" srcOrd="18" destOrd="0" presId="urn:microsoft.com/office/officeart/2008/layout/BendingPictureCaption"/>
    <dgm:cxn modelId="{0A9CF6CF-CEEC-4284-9E9D-8EC4AE00B452}" type="presParOf" srcId="{7C84CA96-8C75-4DD6-A01B-CF4023A7DAAC}" destId="{B5221D01-1A96-4C56-B5C9-E76E37A39092}" srcOrd="0" destOrd="0" presId="urn:microsoft.com/office/officeart/2008/layout/BendingPictureCaption"/>
    <dgm:cxn modelId="{85D9F6F9-E556-4273-A5CE-6BD5A02FF40B}" type="presParOf" srcId="{7C84CA96-8C75-4DD6-A01B-CF4023A7DAAC}" destId="{2EAEE2DF-7D3D-45F1-9A3B-7DDA5E50515B}" srcOrd="1" destOrd="0" presId="urn:microsoft.com/office/officeart/2008/layout/BendingPictureCaption"/>
    <dgm:cxn modelId="{62CFDF12-35D2-4374-8275-D5BF2AEA649A}" type="presParOf" srcId="{0F9649FA-0F2B-4D49-9A9D-9E0D6F657BB4}" destId="{0DC45172-B45B-4F24-8241-6CF729599999}" srcOrd="19" destOrd="0" presId="urn:microsoft.com/office/officeart/2008/layout/BendingPictureCaption"/>
    <dgm:cxn modelId="{8ED2D90D-22B9-4D11-AA30-C3A634A1D2CB}" type="presParOf" srcId="{0F9649FA-0F2B-4D49-9A9D-9E0D6F657BB4}" destId="{4C5317F4-FB7A-4F41-9C56-D5BB5B44CFCE}" srcOrd="20" destOrd="0" presId="urn:microsoft.com/office/officeart/2008/layout/BendingPictureCaption"/>
    <dgm:cxn modelId="{8ED5A66E-96FD-459C-A1C1-8DCE993FC8C4}" type="presParOf" srcId="{4C5317F4-FB7A-4F41-9C56-D5BB5B44CFCE}" destId="{33D78FBF-F07C-4E0B-9E88-F0F7BB780A30}" srcOrd="0" destOrd="0" presId="urn:microsoft.com/office/officeart/2008/layout/BendingPictureCaption"/>
    <dgm:cxn modelId="{6559FCA9-2077-4C77-A067-D3F49B51B4FB}" type="presParOf" srcId="{4C5317F4-FB7A-4F41-9C56-D5BB5B44CFCE}" destId="{7A5B1AD2-5915-4169-B80A-5291073BA319}" srcOrd="1" destOrd="0" presId="urn:microsoft.com/office/officeart/2008/layout/BendingPictureCaption"/>
    <dgm:cxn modelId="{E961A515-943E-4591-8046-2F32D0AC7403}" type="presParOf" srcId="{0F9649FA-0F2B-4D49-9A9D-9E0D6F657BB4}" destId="{083E7280-EA97-45CA-B852-DCD23BE6D2CD}" srcOrd="21" destOrd="0" presId="urn:microsoft.com/office/officeart/2008/layout/BendingPictureCaption"/>
    <dgm:cxn modelId="{60D640D9-F33F-4A9A-897F-5802F3E7E4DB}" type="presParOf" srcId="{0F9649FA-0F2B-4D49-9A9D-9E0D6F657BB4}" destId="{0F4C46B7-2E81-48CA-BA5F-8D1D73FEDBA7}" srcOrd="22" destOrd="0" presId="urn:microsoft.com/office/officeart/2008/layout/BendingPictureCaption"/>
    <dgm:cxn modelId="{9BBF7E79-2574-48D9-AD1D-49050DFFB0DD}" type="presParOf" srcId="{0F4C46B7-2E81-48CA-BA5F-8D1D73FEDBA7}" destId="{A1EEFD0B-C547-4545-A6C1-A026E734673C}" srcOrd="0" destOrd="0" presId="urn:microsoft.com/office/officeart/2008/layout/BendingPictureCaption"/>
    <dgm:cxn modelId="{F353898E-5ED1-4B97-84E7-830B2E87BEB2}" type="presParOf" srcId="{0F4C46B7-2E81-48CA-BA5F-8D1D73FEDBA7}" destId="{649CE762-E77C-495C-BE76-4CE77385BED8}" srcOrd="1" destOrd="0" presId="urn:microsoft.com/office/officeart/2008/layout/BendingPictureCapti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2B4B72-C164-4B69-9899-CA7796BEFB96}">
      <dsp:nvSpPr>
        <dsp:cNvPr id="0" name=""/>
        <dsp:cNvSpPr/>
      </dsp:nvSpPr>
      <dsp:spPr>
        <a:xfrm>
          <a:off x="1828800" y="0"/>
          <a:ext cx="914400" cy="914400"/>
        </a:xfrm>
        <a:prstGeom prst="trapezoid">
          <a:avLst>
            <a:gd name="adj" fmla="val 5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Policy</a:t>
          </a:r>
        </a:p>
      </dsp:txBody>
      <dsp:txXfrm>
        <a:off x="1828800" y="0"/>
        <a:ext cx="914400" cy="914400"/>
      </dsp:txXfrm>
    </dsp:sp>
    <dsp:sp modelId="{065408BB-C41D-4916-BE3C-AE29C4836A8F}">
      <dsp:nvSpPr>
        <dsp:cNvPr id="0" name=""/>
        <dsp:cNvSpPr/>
      </dsp:nvSpPr>
      <dsp:spPr>
        <a:xfrm>
          <a:off x="1371600" y="914399"/>
          <a:ext cx="1828800" cy="914400"/>
        </a:xfrm>
        <a:prstGeom prst="trapezoid">
          <a:avLst>
            <a:gd name="adj" fmla="val 50000"/>
          </a:avLst>
        </a:prstGeom>
        <a:solidFill>
          <a:schemeClr val="accent5">
            <a:hueOff val="-2483469"/>
            <a:satOff val="9953"/>
            <a:lumOff val="21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Requirement</a:t>
          </a:r>
        </a:p>
      </dsp:txBody>
      <dsp:txXfrm>
        <a:off x="1691640" y="914399"/>
        <a:ext cx="1188720" cy="914400"/>
      </dsp:txXfrm>
    </dsp:sp>
    <dsp:sp modelId="{4918DCC6-0FEA-4B36-AC17-67373041501C}">
      <dsp:nvSpPr>
        <dsp:cNvPr id="0" name=""/>
        <dsp:cNvSpPr/>
      </dsp:nvSpPr>
      <dsp:spPr>
        <a:xfrm>
          <a:off x="914400" y="1828799"/>
          <a:ext cx="2743199" cy="914400"/>
        </a:xfrm>
        <a:prstGeom prst="trapezoid">
          <a:avLst>
            <a:gd name="adj" fmla="val 50000"/>
          </a:avLst>
        </a:prstGeom>
        <a:solidFill>
          <a:schemeClr val="accent5">
            <a:hueOff val="-4966938"/>
            <a:satOff val="19906"/>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Standards</a:t>
          </a:r>
        </a:p>
      </dsp:txBody>
      <dsp:txXfrm>
        <a:off x="1394460" y="1828799"/>
        <a:ext cx="1783080" cy="914400"/>
      </dsp:txXfrm>
    </dsp:sp>
    <dsp:sp modelId="{B5916C0C-FDD2-4DE0-8EE8-23A38A2AF6CC}">
      <dsp:nvSpPr>
        <dsp:cNvPr id="0" name=""/>
        <dsp:cNvSpPr/>
      </dsp:nvSpPr>
      <dsp:spPr>
        <a:xfrm>
          <a:off x="457200" y="2743199"/>
          <a:ext cx="3657600" cy="914400"/>
        </a:xfrm>
        <a:prstGeom prst="trapezoid">
          <a:avLst>
            <a:gd name="adj" fmla="val 50000"/>
          </a:avLst>
        </a:prstGeom>
        <a:solidFill>
          <a:schemeClr val="accent5">
            <a:hueOff val="-7450407"/>
            <a:satOff val="29858"/>
            <a:lumOff val="6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Guideline</a:t>
          </a:r>
        </a:p>
      </dsp:txBody>
      <dsp:txXfrm>
        <a:off x="1097279" y="2743199"/>
        <a:ext cx="2377440" cy="914400"/>
      </dsp:txXfrm>
    </dsp:sp>
    <dsp:sp modelId="{4D8D53ED-E555-4E84-A768-6E98326AB2AA}">
      <dsp:nvSpPr>
        <dsp:cNvPr id="0" name=""/>
        <dsp:cNvSpPr/>
      </dsp:nvSpPr>
      <dsp:spPr>
        <a:xfrm>
          <a:off x="0" y="3657600"/>
          <a:ext cx="4572000" cy="914400"/>
        </a:xfrm>
        <a:prstGeom prst="trapezoid">
          <a:avLst>
            <a:gd name="adj" fmla="val 50000"/>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Standard operating procedure</a:t>
          </a:r>
        </a:p>
      </dsp:txBody>
      <dsp:txXfrm>
        <a:off x="800099" y="3657600"/>
        <a:ext cx="2971800" cy="9144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011CCB-48AF-4C05-AC4B-D18E6A3FCFBC}">
      <dsp:nvSpPr>
        <dsp:cNvPr id="0" name=""/>
        <dsp:cNvSpPr/>
      </dsp:nvSpPr>
      <dsp:spPr>
        <a:xfrm>
          <a:off x="644332" y="0"/>
          <a:ext cx="1440747" cy="1245650"/>
        </a:xfrm>
        <a:prstGeom prst="rect">
          <a:avLst/>
        </a:prstGeom>
        <a:blipFill rotWithShape="1">
          <a:blip xmlns:r="http://schemas.openxmlformats.org/officeDocument/2006/relationships" r:embed="rId1"/>
          <a:srcRect/>
          <a:stretch>
            <a:fillRect t="-57000" b="-57000"/>
          </a:stretch>
        </a:blipFill>
        <a:ln>
          <a:noFill/>
        </a:ln>
        <a:effectLst/>
      </dsp:spPr>
      <dsp:style>
        <a:lnRef idx="0">
          <a:scrgbClr r="0" g="0" b="0"/>
        </a:lnRef>
        <a:fillRef idx="1">
          <a:scrgbClr r="0" g="0" b="0"/>
        </a:fillRef>
        <a:effectRef idx="0">
          <a:scrgbClr r="0" g="0" b="0"/>
        </a:effectRef>
        <a:fontRef idx="minor"/>
      </dsp:style>
    </dsp:sp>
    <dsp:sp modelId="{A11D78F1-28E9-4629-BDAA-3F3A1864D479}">
      <dsp:nvSpPr>
        <dsp:cNvPr id="0" name=""/>
        <dsp:cNvSpPr/>
      </dsp:nvSpPr>
      <dsp:spPr>
        <a:xfrm>
          <a:off x="592965" y="1209007"/>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US" sz="1200" kern="1200" dirty="0"/>
            <a:t>Wet analysis </a:t>
          </a:r>
          <a:endParaRPr lang="en-IN" sz="1200" kern="1200" dirty="0"/>
        </a:p>
      </dsp:txBody>
      <dsp:txXfrm>
        <a:off x="592965" y="1209007"/>
        <a:ext cx="1452483" cy="349055"/>
      </dsp:txXfrm>
    </dsp:sp>
    <dsp:sp modelId="{AAA5CADE-2684-4576-B7A3-75C016186848}">
      <dsp:nvSpPr>
        <dsp:cNvPr id="0" name=""/>
        <dsp:cNvSpPr/>
      </dsp:nvSpPr>
      <dsp:spPr>
        <a:xfrm>
          <a:off x="2572486" y="64899"/>
          <a:ext cx="1685597" cy="1245650"/>
        </a:xfrm>
        <a:prstGeom prst="rect">
          <a:avLst/>
        </a:prstGeom>
        <a:blipFill rotWithShape="1">
          <a:blip xmlns:r="http://schemas.openxmlformats.org/officeDocument/2006/relationships" r:embed="rId2"/>
          <a:srcRect/>
          <a:stretch>
            <a:fillRect l="-8000" r="-8000"/>
          </a:stretch>
        </a:blipFill>
        <a:ln>
          <a:noFill/>
        </a:ln>
        <a:effectLst/>
      </dsp:spPr>
      <dsp:style>
        <a:lnRef idx="0">
          <a:scrgbClr r="0" g="0" b="0"/>
        </a:lnRef>
        <a:fillRef idx="1">
          <a:scrgbClr r="0" g="0" b="0"/>
        </a:fillRef>
        <a:effectRef idx="0">
          <a:scrgbClr r="0" g="0" b="0"/>
        </a:effectRef>
        <a:fontRef idx="minor"/>
      </dsp:style>
    </dsp:sp>
    <dsp:sp modelId="{88F2BC87-E93A-4AEA-8B2C-3E3E6D063614}">
      <dsp:nvSpPr>
        <dsp:cNvPr id="0" name=""/>
        <dsp:cNvSpPr/>
      </dsp:nvSpPr>
      <dsp:spPr>
        <a:xfrm>
          <a:off x="2685674" y="1254279"/>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US" sz="1200" kern="1200" dirty="0"/>
            <a:t>UV Spectrometer -1</a:t>
          </a:r>
          <a:endParaRPr lang="en-IN" sz="1200" kern="1200" dirty="0"/>
        </a:p>
      </dsp:txBody>
      <dsp:txXfrm>
        <a:off x="2685674" y="1254279"/>
        <a:ext cx="1452483" cy="349055"/>
      </dsp:txXfrm>
    </dsp:sp>
    <dsp:sp modelId="{62DBE511-E997-4ED5-97A9-2C4C70AD8BF9}">
      <dsp:nvSpPr>
        <dsp:cNvPr id="0" name=""/>
        <dsp:cNvSpPr/>
      </dsp:nvSpPr>
      <dsp:spPr>
        <a:xfrm>
          <a:off x="4705660" y="77741"/>
          <a:ext cx="1685597" cy="1245650"/>
        </a:xfrm>
        <a:prstGeom prst="rect">
          <a:avLst/>
        </a:prstGeom>
        <a:blipFill rotWithShape="1">
          <a:blip xmlns:r="http://schemas.openxmlformats.org/officeDocument/2006/relationships" r:embed="rId3"/>
          <a:srcRect/>
          <a:stretch>
            <a:fillRect l="-6000" r="-6000"/>
          </a:stretch>
        </a:blipFill>
        <a:ln>
          <a:noFill/>
        </a:ln>
        <a:effectLst/>
      </dsp:spPr>
      <dsp:style>
        <a:lnRef idx="0">
          <a:scrgbClr r="0" g="0" b="0"/>
        </a:lnRef>
        <a:fillRef idx="1">
          <a:scrgbClr r="0" g="0" b="0"/>
        </a:fillRef>
        <a:effectRef idx="0">
          <a:scrgbClr r="0" g="0" b="0"/>
        </a:effectRef>
        <a:fontRef idx="minor"/>
      </dsp:style>
    </dsp:sp>
    <dsp:sp modelId="{AAF0E751-EB18-40CC-A04B-C4DD54052402}">
      <dsp:nvSpPr>
        <dsp:cNvPr id="0" name=""/>
        <dsp:cNvSpPr/>
      </dsp:nvSpPr>
      <dsp:spPr>
        <a:xfrm>
          <a:off x="4841261" y="1254279"/>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US" sz="1200" kern="1200" dirty="0"/>
            <a:t>IR - 1</a:t>
          </a:r>
          <a:endParaRPr lang="en-IN" sz="1200" kern="1200" dirty="0"/>
        </a:p>
      </dsp:txBody>
      <dsp:txXfrm>
        <a:off x="4841261" y="1254279"/>
        <a:ext cx="1452483" cy="349055"/>
      </dsp:txXfrm>
    </dsp:sp>
    <dsp:sp modelId="{6E62CEB0-6884-4B16-A140-A8028FC83ABE}">
      <dsp:nvSpPr>
        <dsp:cNvPr id="0" name=""/>
        <dsp:cNvSpPr/>
      </dsp:nvSpPr>
      <dsp:spPr>
        <a:xfrm>
          <a:off x="6755244" y="77741"/>
          <a:ext cx="1685597" cy="1245650"/>
        </a:xfrm>
        <a:prstGeom prst="rect">
          <a:avLst/>
        </a:prstGeom>
        <a:blipFill rotWithShape="1">
          <a:blip xmlns:r="http://schemas.openxmlformats.org/officeDocument/2006/relationships" r:embed="rId4"/>
          <a:srcRect/>
          <a:stretch>
            <a:fillRect t="-15000" b="-15000"/>
          </a:stretch>
        </a:blipFill>
        <a:ln>
          <a:noFill/>
        </a:ln>
        <a:effectLst/>
      </dsp:spPr>
      <dsp:style>
        <a:lnRef idx="0">
          <a:scrgbClr r="0" g="0" b="0"/>
        </a:lnRef>
        <a:fillRef idx="1">
          <a:scrgbClr r="0" g="0" b="0"/>
        </a:fillRef>
        <a:effectRef idx="0">
          <a:scrgbClr r="0" g="0" b="0"/>
        </a:effectRef>
        <a:fontRef idx="minor"/>
      </dsp:style>
    </dsp:sp>
    <dsp:sp modelId="{719CDEE6-6AA4-47C4-930B-8A2D0F15D42D}">
      <dsp:nvSpPr>
        <dsp:cNvPr id="0" name=""/>
        <dsp:cNvSpPr/>
      </dsp:nvSpPr>
      <dsp:spPr>
        <a:xfrm>
          <a:off x="6985983" y="1251166"/>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US" sz="1200" kern="1200" dirty="0"/>
            <a:t>KF Titrator - 1 </a:t>
          </a:r>
          <a:endParaRPr lang="en-IN" sz="1200" kern="1200" dirty="0"/>
        </a:p>
      </dsp:txBody>
      <dsp:txXfrm>
        <a:off x="6985983" y="1251166"/>
        <a:ext cx="1452483" cy="349055"/>
      </dsp:txXfrm>
    </dsp:sp>
    <dsp:sp modelId="{5C77BA56-90FD-473D-8F89-2E950CFC3619}">
      <dsp:nvSpPr>
        <dsp:cNvPr id="0" name=""/>
        <dsp:cNvSpPr/>
      </dsp:nvSpPr>
      <dsp:spPr>
        <a:xfrm>
          <a:off x="1815892" y="1686333"/>
          <a:ext cx="1532410" cy="1245650"/>
        </a:xfrm>
        <a:prstGeom prst="rect">
          <a:avLst/>
        </a:prstGeom>
        <a:blipFill rotWithShape="1">
          <a:blip xmlns:r="http://schemas.openxmlformats.org/officeDocument/2006/relationships" r:embed="rId5"/>
          <a:srcRect/>
          <a:stretch>
            <a:fillRect t="-11000" b="-11000"/>
          </a:stretch>
        </a:blipFill>
        <a:ln>
          <a:noFill/>
        </a:ln>
        <a:effectLst/>
      </dsp:spPr>
      <dsp:style>
        <a:lnRef idx="0">
          <a:scrgbClr r="0" g="0" b="0"/>
        </a:lnRef>
        <a:fillRef idx="1">
          <a:scrgbClr r="0" g="0" b="0"/>
        </a:fillRef>
        <a:effectRef idx="0">
          <a:scrgbClr r="0" g="0" b="0"/>
        </a:effectRef>
        <a:fontRef idx="minor"/>
      </dsp:style>
    </dsp:sp>
    <dsp:sp modelId="{C2A3D334-942B-4D0A-8AA9-12C876583441}">
      <dsp:nvSpPr>
        <dsp:cNvPr id="0" name=""/>
        <dsp:cNvSpPr/>
      </dsp:nvSpPr>
      <dsp:spPr>
        <a:xfrm>
          <a:off x="1917222" y="2826942"/>
          <a:ext cx="1320946" cy="37372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5000"/>
            </a:spcAft>
            <a:buNone/>
          </a:pPr>
          <a:r>
            <a:rPr lang="en-US" sz="900" kern="1200" dirty="0"/>
            <a:t>HPLC </a:t>
          </a:r>
          <a:r>
            <a:rPr lang="en-IN" sz="1100" kern="1200" dirty="0"/>
            <a:t> - 2</a:t>
          </a:r>
        </a:p>
      </dsp:txBody>
      <dsp:txXfrm>
        <a:off x="1917222" y="2826942"/>
        <a:ext cx="1320946" cy="373723"/>
      </dsp:txXfrm>
    </dsp:sp>
    <dsp:sp modelId="{7BF8577C-C21A-4B23-AB81-8D615C1ECD84}">
      <dsp:nvSpPr>
        <dsp:cNvPr id="0" name=""/>
        <dsp:cNvSpPr/>
      </dsp:nvSpPr>
      <dsp:spPr>
        <a:xfrm>
          <a:off x="3971336" y="1686334"/>
          <a:ext cx="1685597" cy="1245650"/>
        </a:xfrm>
        <a:prstGeom prst="rect">
          <a:avLst/>
        </a:prstGeom>
        <a:blipFill rotWithShape="1">
          <a:blip xmlns:r="http://schemas.openxmlformats.org/officeDocument/2006/relationships" r:embed="rId6"/>
          <a:srcRect/>
          <a:stretch>
            <a:fillRect l="-16000" r="-16000"/>
          </a:stretch>
        </a:blipFill>
        <a:ln>
          <a:noFill/>
        </a:ln>
        <a:effectLst/>
      </dsp:spPr>
      <dsp:style>
        <a:lnRef idx="0">
          <a:scrgbClr r="0" g="0" b="0"/>
        </a:lnRef>
        <a:fillRef idx="1">
          <a:scrgbClr r="0" g="0" b="0"/>
        </a:fillRef>
        <a:effectRef idx="0">
          <a:scrgbClr r="0" g="0" b="0"/>
        </a:effectRef>
        <a:fontRef idx="minor"/>
      </dsp:style>
    </dsp:sp>
    <dsp:sp modelId="{038A7C02-72B4-4C16-82A3-935AA62AC791}">
      <dsp:nvSpPr>
        <dsp:cNvPr id="0" name=""/>
        <dsp:cNvSpPr/>
      </dsp:nvSpPr>
      <dsp:spPr>
        <a:xfrm>
          <a:off x="3995537" y="2826943"/>
          <a:ext cx="1621465"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5000"/>
            </a:spcAft>
            <a:buNone/>
          </a:pPr>
          <a:r>
            <a:rPr lang="en-US" sz="900" kern="1200" dirty="0"/>
            <a:t>GC (Gas Chromatography) 1</a:t>
          </a:r>
          <a:endParaRPr lang="en-IN" sz="900" kern="1200" dirty="0"/>
        </a:p>
      </dsp:txBody>
      <dsp:txXfrm>
        <a:off x="3995537" y="2826943"/>
        <a:ext cx="1621465" cy="349055"/>
      </dsp:txXfrm>
    </dsp:sp>
    <dsp:sp modelId="{B6F1431D-70F5-4B70-B4FC-402DA8969F1D}">
      <dsp:nvSpPr>
        <dsp:cNvPr id="0" name=""/>
        <dsp:cNvSpPr/>
      </dsp:nvSpPr>
      <dsp:spPr>
        <a:xfrm>
          <a:off x="609604" y="3352802"/>
          <a:ext cx="1685597" cy="1245650"/>
        </a:xfrm>
        <a:prstGeom prst="rect">
          <a:avLst/>
        </a:prstGeom>
        <a:blipFill rotWithShape="1">
          <a:blip xmlns:r="http://schemas.openxmlformats.org/officeDocument/2006/relationships" r:embed="rId7"/>
          <a:srcRect/>
          <a:stretch>
            <a:fillRect t="-42000" b="-42000"/>
          </a:stretch>
        </a:blipFill>
        <a:ln>
          <a:noFill/>
        </a:ln>
        <a:effectLst/>
      </dsp:spPr>
      <dsp:style>
        <a:lnRef idx="0">
          <a:scrgbClr r="0" g="0" b="0"/>
        </a:lnRef>
        <a:fillRef idx="1">
          <a:scrgbClr r="0" g="0" b="0"/>
        </a:fillRef>
        <a:effectRef idx="0">
          <a:scrgbClr r="0" g="0" b="0"/>
        </a:effectRef>
        <a:fontRef idx="minor"/>
      </dsp:style>
    </dsp:sp>
    <dsp:sp modelId="{AE1F0795-863F-40A7-B86C-0B8D1E954F9B}">
      <dsp:nvSpPr>
        <dsp:cNvPr id="0" name=""/>
        <dsp:cNvSpPr/>
      </dsp:nvSpPr>
      <dsp:spPr>
        <a:xfrm>
          <a:off x="685807" y="4571999"/>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IN" sz="1200" kern="1200" dirty="0"/>
            <a:t>Micro analysis</a:t>
          </a:r>
        </a:p>
      </dsp:txBody>
      <dsp:txXfrm>
        <a:off x="685807" y="4571999"/>
        <a:ext cx="1452483" cy="349055"/>
      </dsp:txXfrm>
    </dsp:sp>
    <dsp:sp modelId="{B5221D01-1A96-4C56-B5C9-E76E37A39092}">
      <dsp:nvSpPr>
        <dsp:cNvPr id="0" name=""/>
        <dsp:cNvSpPr/>
      </dsp:nvSpPr>
      <dsp:spPr>
        <a:xfrm>
          <a:off x="4648194" y="3276606"/>
          <a:ext cx="1685597" cy="1458606"/>
        </a:xfrm>
        <a:prstGeom prst="rect">
          <a:avLst/>
        </a:prstGeom>
        <a:blipFill rotWithShape="1">
          <a:blip xmlns:r="http://schemas.openxmlformats.org/officeDocument/2006/relationships" r:embed="rId8"/>
          <a:srcRect/>
          <a:stretch>
            <a:fillRect t="-59000" b="-59000"/>
          </a:stretch>
        </a:blipFill>
        <a:ln>
          <a:noFill/>
        </a:ln>
        <a:effectLst/>
      </dsp:spPr>
      <dsp:style>
        <a:lnRef idx="0">
          <a:scrgbClr r="0" g="0" b="0"/>
        </a:lnRef>
        <a:fillRef idx="1">
          <a:scrgbClr r="0" g="0" b="0"/>
        </a:fillRef>
        <a:effectRef idx="0">
          <a:scrgbClr r="0" g="0" b="0"/>
        </a:effectRef>
        <a:fontRef idx="minor"/>
      </dsp:style>
    </dsp:sp>
    <dsp:sp modelId="{2EAEE2DF-7D3D-45F1-9A3B-7DDA5E50515B}">
      <dsp:nvSpPr>
        <dsp:cNvPr id="0" name=""/>
        <dsp:cNvSpPr/>
      </dsp:nvSpPr>
      <dsp:spPr>
        <a:xfrm>
          <a:off x="4724400" y="4603944"/>
          <a:ext cx="1462665"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355600">
            <a:lnSpc>
              <a:spcPct val="90000"/>
            </a:lnSpc>
            <a:spcBef>
              <a:spcPct val="0"/>
            </a:spcBef>
            <a:spcAft>
              <a:spcPct val="5000"/>
            </a:spcAft>
            <a:buNone/>
          </a:pPr>
          <a:r>
            <a:rPr lang="en-US" sz="800" kern="1200" dirty="0"/>
            <a:t>BOD Incubator 600L*2 400L*1</a:t>
          </a:r>
          <a:endParaRPr lang="en-IN" sz="800" kern="1200" dirty="0"/>
        </a:p>
      </dsp:txBody>
      <dsp:txXfrm>
        <a:off x="4724400" y="4603944"/>
        <a:ext cx="1462665" cy="349055"/>
      </dsp:txXfrm>
    </dsp:sp>
    <dsp:sp modelId="{33D78FBF-F07C-4E0B-9E88-F0F7BB780A30}">
      <dsp:nvSpPr>
        <dsp:cNvPr id="0" name=""/>
        <dsp:cNvSpPr/>
      </dsp:nvSpPr>
      <dsp:spPr>
        <a:xfrm>
          <a:off x="2651516" y="3358293"/>
          <a:ext cx="1685597" cy="1594706"/>
        </a:xfrm>
        <a:prstGeom prst="rect">
          <a:avLst/>
        </a:prstGeom>
        <a:blipFill rotWithShape="1">
          <a:blip xmlns:r="http://schemas.openxmlformats.org/officeDocument/2006/relationships" r:embed="rId9"/>
          <a:srcRect/>
          <a:stretch>
            <a:fillRect t="-25000" b="-25000"/>
          </a:stretch>
        </a:blipFill>
        <a:ln>
          <a:noFill/>
        </a:ln>
        <a:effectLst/>
      </dsp:spPr>
      <dsp:style>
        <a:lnRef idx="0">
          <a:scrgbClr r="0" g="0" b="0"/>
        </a:lnRef>
        <a:fillRef idx="1">
          <a:scrgbClr r="0" g="0" b="0"/>
        </a:fillRef>
        <a:effectRef idx="0">
          <a:scrgbClr r="0" g="0" b="0"/>
        </a:effectRef>
        <a:fontRef idx="minor"/>
      </dsp:style>
    </dsp:sp>
    <dsp:sp modelId="{7A5B1AD2-5915-4169-B80A-5291073BA319}">
      <dsp:nvSpPr>
        <dsp:cNvPr id="0" name=""/>
        <dsp:cNvSpPr/>
      </dsp:nvSpPr>
      <dsp:spPr>
        <a:xfrm>
          <a:off x="2704590" y="4728616"/>
          <a:ext cx="1452483" cy="22124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5000"/>
            </a:spcAft>
            <a:buNone/>
          </a:pPr>
          <a:r>
            <a:rPr lang="en-US" sz="1200" kern="1200" dirty="0"/>
            <a:t>Autoclave – 175L </a:t>
          </a:r>
          <a:endParaRPr lang="en-IN" sz="1200" kern="1200" dirty="0"/>
        </a:p>
      </dsp:txBody>
      <dsp:txXfrm>
        <a:off x="2704590" y="4728616"/>
        <a:ext cx="1452483" cy="221245"/>
      </dsp:txXfrm>
    </dsp:sp>
    <dsp:sp modelId="{A1EEFD0B-C547-4545-A6C1-A026E734673C}">
      <dsp:nvSpPr>
        <dsp:cNvPr id="0" name=""/>
        <dsp:cNvSpPr/>
      </dsp:nvSpPr>
      <dsp:spPr>
        <a:xfrm>
          <a:off x="6886899" y="2265868"/>
          <a:ext cx="1685597" cy="1245650"/>
        </a:xfrm>
        <a:prstGeom prst="rect">
          <a:avLst/>
        </a:prstGeom>
        <a:blipFill rotWithShape="1">
          <a:blip xmlns:r="http://schemas.openxmlformats.org/officeDocument/2006/relationships" r:embed="rId10"/>
          <a:srcRect/>
          <a:stretch>
            <a:fillRect t="-5000" b="-5000"/>
          </a:stretch>
        </a:blipFill>
        <a:ln>
          <a:noFill/>
        </a:ln>
        <a:effectLst/>
      </dsp:spPr>
      <dsp:style>
        <a:lnRef idx="0">
          <a:scrgbClr r="0" g="0" b="0"/>
        </a:lnRef>
        <a:fillRef idx="1">
          <a:scrgbClr r="0" g="0" b="0"/>
        </a:fillRef>
        <a:effectRef idx="0">
          <a:scrgbClr r="0" g="0" b="0"/>
        </a:effectRef>
        <a:fontRef idx="minor"/>
      </dsp:style>
    </dsp:sp>
    <dsp:sp modelId="{649CE762-E77C-495C-BE76-4CE77385BED8}">
      <dsp:nvSpPr>
        <dsp:cNvPr id="0" name=""/>
        <dsp:cNvSpPr/>
      </dsp:nvSpPr>
      <dsp:spPr>
        <a:xfrm>
          <a:off x="7010404" y="3429000"/>
          <a:ext cx="1452483" cy="34905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444500">
            <a:lnSpc>
              <a:spcPct val="90000"/>
            </a:lnSpc>
            <a:spcBef>
              <a:spcPct val="0"/>
            </a:spcBef>
            <a:spcAft>
              <a:spcPct val="5000"/>
            </a:spcAft>
            <a:buNone/>
          </a:pPr>
          <a:r>
            <a:rPr lang="en-US" sz="1000" kern="1200" dirty="0"/>
            <a:t>Stability chambers 3Nos 400L*2 800*1</a:t>
          </a:r>
          <a:endParaRPr lang="en-IN" sz="1000" kern="1200" dirty="0"/>
        </a:p>
      </dsp:txBody>
      <dsp:txXfrm>
        <a:off x="7010404" y="3429000"/>
        <a:ext cx="1452483" cy="3490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AE49D-6519-49D1-ABFB-8ADA24863D25}">
      <dsp:nvSpPr>
        <dsp:cNvPr id="0" name=""/>
        <dsp:cNvSpPr/>
      </dsp:nvSpPr>
      <dsp:spPr>
        <a:xfrm>
          <a:off x="1959043" y="1228113"/>
          <a:ext cx="1501027" cy="1501027"/>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a:t>Production</a:t>
          </a:r>
          <a:endParaRPr lang="de-DE" sz="1200" kern="1200" dirty="0"/>
        </a:p>
      </dsp:txBody>
      <dsp:txXfrm>
        <a:off x="2260816" y="1579721"/>
        <a:ext cx="897481" cy="771559"/>
      </dsp:txXfrm>
    </dsp:sp>
    <dsp:sp modelId="{21F07395-49E3-471D-A9FD-CA7BFE7292E3}">
      <dsp:nvSpPr>
        <dsp:cNvPr id="0" name=""/>
        <dsp:cNvSpPr/>
      </dsp:nvSpPr>
      <dsp:spPr>
        <a:xfrm>
          <a:off x="1013690" y="832960"/>
          <a:ext cx="1235710" cy="1172383"/>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Scaleup</a:t>
          </a:r>
        </a:p>
      </dsp:txBody>
      <dsp:txXfrm>
        <a:off x="1318046" y="1129895"/>
        <a:ext cx="626998" cy="578513"/>
      </dsp:txXfrm>
    </dsp:sp>
    <dsp:sp modelId="{0F5736F5-91DF-49E6-9542-1715D3100BAB}">
      <dsp:nvSpPr>
        <dsp:cNvPr id="0" name=""/>
        <dsp:cNvSpPr/>
      </dsp:nvSpPr>
      <dsp:spPr>
        <a:xfrm rot="20700000">
          <a:off x="1697156" y="120193"/>
          <a:ext cx="1069600" cy="1069600"/>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de-DE" sz="1200" kern="1200" dirty="0"/>
            <a:t>R&amp;D</a:t>
          </a:r>
        </a:p>
      </dsp:txBody>
      <dsp:txXfrm rot="-20700000">
        <a:off x="1931751" y="354788"/>
        <a:ext cx="600410" cy="600410"/>
      </dsp:txXfrm>
    </dsp:sp>
    <dsp:sp modelId="{A709413D-203F-42AC-BFB6-7EAE89CADA24}">
      <dsp:nvSpPr>
        <dsp:cNvPr id="0" name=""/>
        <dsp:cNvSpPr/>
      </dsp:nvSpPr>
      <dsp:spPr>
        <a:xfrm>
          <a:off x="1828279" y="1010203"/>
          <a:ext cx="1921314" cy="1921314"/>
        </a:xfrm>
        <a:prstGeom prst="circularArrow">
          <a:avLst>
            <a:gd name="adj1" fmla="val 4688"/>
            <a:gd name="adj2" fmla="val 299029"/>
            <a:gd name="adj3" fmla="val 2466521"/>
            <a:gd name="adj4" fmla="val 15972694"/>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ED33573-A47B-40C8-991F-FE9621B1B65A}">
      <dsp:nvSpPr>
        <dsp:cNvPr id="0" name=""/>
        <dsp:cNvSpPr/>
      </dsp:nvSpPr>
      <dsp:spPr>
        <a:xfrm>
          <a:off x="892388" y="638070"/>
          <a:ext cx="1395955" cy="1395955"/>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D2DCD7-FD0A-409A-BFC2-1DF13CCCFF22}">
      <dsp:nvSpPr>
        <dsp:cNvPr id="0" name=""/>
        <dsp:cNvSpPr/>
      </dsp:nvSpPr>
      <dsp:spPr>
        <a:xfrm>
          <a:off x="1449747" y="-107801"/>
          <a:ext cx="1505120" cy="1505120"/>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F16733-50D9-48F3-850E-1A6405EADDD3}">
      <dsp:nvSpPr>
        <dsp:cNvPr id="0" name=""/>
        <dsp:cNvSpPr/>
      </dsp:nvSpPr>
      <dsp:spPr>
        <a:xfrm>
          <a:off x="3391419" y="3736760"/>
          <a:ext cx="284043" cy="811861"/>
        </a:xfrm>
        <a:custGeom>
          <a:avLst/>
          <a:gdLst/>
          <a:ahLst/>
          <a:cxnLst/>
          <a:rect l="0" t="0" r="0" b="0"/>
          <a:pathLst>
            <a:path>
              <a:moveTo>
                <a:pt x="0" y="0"/>
              </a:moveTo>
              <a:lnTo>
                <a:pt x="142021" y="0"/>
              </a:lnTo>
              <a:lnTo>
                <a:pt x="142021" y="811861"/>
              </a:lnTo>
              <a:lnTo>
                <a:pt x="284043" y="81186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3511938" y="4121188"/>
        <a:ext cx="43005" cy="43005"/>
      </dsp:txXfrm>
    </dsp:sp>
    <dsp:sp modelId="{10CC8ABE-BCD1-4D31-9BB2-B40FE9B8F17B}">
      <dsp:nvSpPr>
        <dsp:cNvPr id="0" name=""/>
        <dsp:cNvSpPr/>
      </dsp:nvSpPr>
      <dsp:spPr>
        <a:xfrm>
          <a:off x="3391419" y="3736760"/>
          <a:ext cx="284043" cy="270620"/>
        </a:xfrm>
        <a:custGeom>
          <a:avLst/>
          <a:gdLst/>
          <a:ahLst/>
          <a:cxnLst/>
          <a:rect l="0" t="0" r="0" b="0"/>
          <a:pathLst>
            <a:path>
              <a:moveTo>
                <a:pt x="0" y="0"/>
              </a:moveTo>
              <a:lnTo>
                <a:pt x="142021" y="0"/>
              </a:lnTo>
              <a:lnTo>
                <a:pt x="142021" y="270620"/>
              </a:lnTo>
              <a:lnTo>
                <a:pt x="284043" y="2706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3523632" y="3862262"/>
        <a:ext cx="19616" cy="19616"/>
      </dsp:txXfrm>
    </dsp:sp>
    <dsp:sp modelId="{2D16C608-8D1F-43AB-8A63-66A61780A5B8}">
      <dsp:nvSpPr>
        <dsp:cNvPr id="0" name=""/>
        <dsp:cNvSpPr/>
      </dsp:nvSpPr>
      <dsp:spPr>
        <a:xfrm>
          <a:off x="3391419" y="3466140"/>
          <a:ext cx="284043" cy="270620"/>
        </a:xfrm>
        <a:custGeom>
          <a:avLst/>
          <a:gdLst/>
          <a:ahLst/>
          <a:cxnLst/>
          <a:rect l="0" t="0" r="0" b="0"/>
          <a:pathLst>
            <a:path>
              <a:moveTo>
                <a:pt x="0" y="270620"/>
              </a:moveTo>
              <a:lnTo>
                <a:pt x="142021" y="270620"/>
              </a:lnTo>
              <a:lnTo>
                <a:pt x="142021" y="0"/>
              </a:lnTo>
              <a:lnTo>
                <a:pt x="28404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3523632" y="3591642"/>
        <a:ext cx="19616" cy="19616"/>
      </dsp:txXfrm>
    </dsp:sp>
    <dsp:sp modelId="{9789E0F0-ED14-4670-BD91-4D0F3159D9E4}">
      <dsp:nvSpPr>
        <dsp:cNvPr id="0" name=""/>
        <dsp:cNvSpPr/>
      </dsp:nvSpPr>
      <dsp:spPr>
        <a:xfrm>
          <a:off x="3391419" y="2924899"/>
          <a:ext cx="284043" cy="811861"/>
        </a:xfrm>
        <a:custGeom>
          <a:avLst/>
          <a:gdLst/>
          <a:ahLst/>
          <a:cxnLst/>
          <a:rect l="0" t="0" r="0" b="0"/>
          <a:pathLst>
            <a:path>
              <a:moveTo>
                <a:pt x="0" y="811861"/>
              </a:moveTo>
              <a:lnTo>
                <a:pt x="142021" y="811861"/>
              </a:lnTo>
              <a:lnTo>
                <a:pt x="142021" y="0"/>
              </a:lnTo>
              <a:lnTo>
                <a:pt x="28404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3511938" y="3309327"/>
        <a:ext cx="43005" cy="43005"/>
      </dsp:txXfrm>
    </dsp:sp>
    <dsp:sp modelId="{772B6672-0C25-4339-AFB5-5377C5A5918B}">
      <dsp:nvSpPr>
        <dsp:cNvPr id="0" name=""/>
        <dsp:cNvSpPr/>
      </dsp:nvSpPr>
      <dsp:spPr>
        <a:xfrm>
          <a:off x="1687160" y="1977728"/>
          <a:ext cx="284043" cy="1759032"/>
        </a:xfrm>
        <a:custGeom>
          <a:avLst/>
          <a:gdLst/>
          <a:ahLst/>
          <a:cxnLst/>
          <a:rect l="0" t="0" r="0" b="0"/>
          <a:pathLst>
            <a:path>
              <a:moveTo>
                <a:pt x="0" y="0"/>
              </a:moveTo>
              <a:lnTo>
                <a:pt x="142021" y="0"/>
              </a:lnTo>
              <a:lnTo>
                <a:pt x="142021" y="1759032"/>
              </a:lnTo>
              <a:lnTo>
                <a:pt x="284043" y="175903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1784636" y="2812699"/>
        <a:ext cx="89090" cy="89090"/>
      </dsp:txXfrm>
    </dsp:sp>
    <dsp:sp modelId="{0F290A14-8258-4054-B7B7-1C05F4891EB2}">
      <dsp:nvSpPr>
        <dsp:cNvPr id="0" name=""/>
        <dsp:cNvSpPr/>
      </dsp:nvSpPr>
      <dsp:spPr>
        <a:xfrm>
          <a:off x="3391419" y="1842418"/>
          <a:ext cx="284043" cy="541240"/>
        </a:xfrm>
        <a:custGeom>
          <a:avLst/>
          <a:gdLst/>
          <a:ahLst/>
          <a:cxnLst/>
          <a:rect l="0" t="0" r="0" b="0"/>
          <a:pathLst>
            <a:path>
              <a:moveTo>
                <a:pt x="0" y="0"/>
              </a:moveTo>
              <a:lnTo>
                <a:pt x="142021" y="0"/>
              </a:lnTo>
              <a:lnTo>
                <a:pt x="142021" y="541240"/>
              </a:lnTo>
              <a:lnTo>
                <a:pt x="284043" y="5412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3518159" y="2097757"/>
        <a:ext cx="30562" cy="30562"/>
      </dsp:txXfrm>
    </dsp:sp>
    <dsp:sp modelId="{A54E28A5-F11F-44A7-A793-BB330E707504}">
      <dsp:nvSpPr>
        <dsp:cNvPr id="0" name=""/>
        <dsp:cNvSpPr/>
      </dsp:nvSpPr>
      <dsp:spPr>
        <a:xfrm>
          <a:off x="5095678" y="1842418"/>
          <a:ext cx="284043" cy="541240"/>
        </a:xfrm>
        <a:custGeom>
          <a:avLst/>
          <a:gdLst/>
          <a:ahLst/>
          <a:cxnLst/>
          <a:rect l="0" t="0" r="0" b="0"/>
          <a:pathLst>
            <a:path>
              <a:moveTo>
                <a:pt x="0" y="0"/>
              </a:moveTo>
              <a:lnTo>
                <a:pt x="142021" y="0"/>
              </a:lnTo>
              <a:lnTo>
                <a:pt x="142021" y="541240"/>
              </a:lnTo>
              <a:lnTo>
                <a:pt x="284043" y="5412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222418" y="2097757"/>
        <a:ext cx="30562" cy="30562"/>
      </dsp:txXfrm>
    </dsp:sp>
    <dsp:sp modelId="{92A5F87C-49DE-44DE-8F08-B57ADC116640}">
      <dsp:nvSpPr>
        <dsp:cNvPr id="0" name=""/>
        <dsp:cNvSpPr/>
      </dsp:nvSpPr>
      <dsp:spPr>
        <a:xfrm>
          <a:off x="5095678" y="1796698"/>
          <a:ext cx="284043" cy="91440"/>
        </a:xfrm>
        <a:custGeom>
          <a:avLst/>
          <a:gdLst/>
          <a:ahLst/>
          <a:cxnLst/>
          <a:rect l="0" t="0" r="0" b="0"/>
          <a:pathLst>
            <a:path>
              <a:moveTo>
                <a:pt x="0" y="45720"/>
              </a:moveTo>
              <a:lnTo>
                <a:pt x="284043"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230598" y="1835317"/>
        <a:ext cx="14202" cy="14202"/>
      </dsp:txXfrm>
    </dsp:sp>
    <dsp:sp modelId="{72C81662-F6ED-4F54-BDBB-E09F84BC452C}">
      <dsp:nvSpPr>
        <dsp:cNvPr id="0" name=""/>
        <dsp:cNvSpPr/>
      </dsp:nvSpPr>
      <dsp:spPr>
        <a:xfrm>
          <a:off x="5095678" y="1301177"/>
          <a:ext cx="284043" cy="541240"/>
        </a:xfrm>
        <a:custGeom>
          <a:avLst/>
          <a:gdLst/>
          <a:ahLst/>
          <a:cxnLst/>
          <a:rect l="0" t="0" r="0" b="0"/>
          <a:pathLst>
            <a:path>
              <a:moveTo>
                <a:pt x="0" y="541240"/>
              </a:moveTo>
              <a:lnTo>
                <a:pt x="142021" y="541240"/>
              </a:lnTo>
              <a:lnTo>
                <a:pt x="142021" y="0"/>
              </a:lnTo>
              <a:lnTo>
                <a:pt x="28404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5222418" y="1556516"/>
        <a:ext cx="30562" cy="30562"/>
      </dsp:txXfrm>
    </dsp:sp>
    <dsp:sp modelId="{98E3291E-7029-4963-B075-905A3389F451}">
      <dsp:nvSpPr>
        <dsp:cNvPr id="0" name=""/>
        <dsp:cNvSpPr/>
      </dsp:nvSpPr>
      <dsp:spPr>
        <a:xfrm>
          <a:off x="3391419" y="1796698"/>
          <a:ext cx="284043" cy="91440"/>
        </a:xfrm>
        <a:custGeom>
          <a:avLst/>
          <a:gdLst/>
          <a:ahLst/>
          <a:cxnLst/>
          <a:rect l="0" t="0" r="0" b="0"/>
          <a:pathLst>
            <a:path>
              <a:moveTo>
                <a:pt x="0" y="45720"/>
              </a:moveTo>
              <a:lnTo>
                <a:pt x="284043"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3526339" y="1835317"/>
        <a:ext cx="14202" cy="14202"/>
      </dsp:txXfrm>
    </dsp:sp>
    <dsp:sp modelId="{19EF9AD3-5FD6-4D1C-B3A9-52D39D1C5BE1}">
      <dsp:nvSpPr>
        <dsp:cNvPr id="0" name=""/>
        <dsp:cNvSpPr/>
      </dsp:nvSpPr>
      <dsp:spPr>
        <a:xfrm>
          <a:off x="3391419" y="1301177"/>
          <a:ext cx="284043" cy="541240"/>
        </a:xfrm>
        <a:custGeom>
          <a:avLst/>
          <a:gdLst/>
          <a:ahLst/>
          <a:cxnLst/>
          <a:rect l="0" t="0" r="0" b="0"/>
          <a:pathLst>
            <a:path>
              <a:moveTo>
                <a:pt x="0" y="541240"/>
              </a:moveTo>
              <a:lnTo>
                <a:pt x="142021" y="541240"/>
              </a:lnTo>
              <a:lnTo>
                <a:pt x="142021" y="0"/>
              </a:lnTo>
              <a:lnTo>
                <a:pt x="284043" y="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3518159" y="1556516"/>
        <a:ext cx="30562" cy="30562"/>
      </dsp:txXfrm>
    </dsp:sp>
    <dsp:sp modelId="{10065D86-6EE3-4102-A9A2-9ADAD6F89481}">
      <dsp:nvSpPr>
        <dsp:cNvPr id="0" name=""/>
        <dsp:cNvSpPr/>
      </dsp:nvSpPr>
      <dsp:spPr>
        <a:xfrm>
          <a:off x="1687160" y="1842418"/>
          <a:ext cx="284043" cy="135310"/>
        </a:xfrm>
        <a:custGeom>
          <a:avLst/>
          <a:gdLst/>
          <a:ahLst/>
          <a:cxnLst/>
          <a:rect l="0" t="0" r="0" b="0"/>
          <a:pathLst>
            <a:path>
              <a:moveTo>
                <a:pt x="0" y="135310"/>
              </a:moveTo>
              <a:lnTo>
                <a:pt x="142021" y="135310"/>
              </a:lnTo>
              <a:lnTo>
                <a:pt x="142021" y="0"/>
              </a:lnTo>
              <a:lnTo>
                <a:pt x="28404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1821316" y="1902207"/>
        <a:ext cx="15731" cy="15731"/>
      </dsp:txXfrm>
    </dsp:sp>
    <dsp:sp modelId="{CF8F6304-0777-4129-B071-A9BDB9AC4FF3}">
      <dsp:nvSpPr>
        <dsp:cNvPr id="0" name=""/>
        <dsp:cNvSpPr/>
      </dsp:nvSpPr>
      <dsp:spPr>
        <a:xfrm>
          <a:off x="1687160" y="1301177"/>
          <a:ext cx="284043" cy="676550"/>
        </a:xfrm>
        <a:custGeom>
          <a:avLst/>
          <a:gdLst/>
          <a:ahLst/>
          <a:cxnLst/>
          <a:rect l="0" t="0" r="0" b="0"/>
          <a:pathLst>
            <a:path>
              <a:moveTo>
                <a:pt x="0" y="676550"/>
              </a:moveTo>
              <a:lnTo>
                <a:pt x="142021" y="676550"/>
              </a:lnTo>
              <a:lnTo>
                <a:pt x="142021" y="0"/>
              </a:lnTo>
              <a:lnTo>
                <a:pt x="28404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1810838" y="1621109"/>
        <a:ext cx="36687" cy="36687"/>
      </dsp:txXfrm>
    </dsp:sp>
    <dsp:sp modelId="{2E1E22E1-C9B0-4ED5-BA31-2D60EC78FF4D}">
      <dsp:nvSpPr>
        <dsp:cNvPr id="0" name=""/>
        <dsp:cNvSpPr/>
      </dsp:nvSpPr>
      <dsp:spPr>
        <a:xfrm>
          <a:off x="1687160" y="759936"/>
          <a:ext cx="284043" cy="1217791"/>
        </a:xfrm>
        <a:custGeom>
          <a:avLst/>
          <a:gdLst/>
          <a:ahLst/>
          <a:cxnLst/>
          <a:rect l="0" t="0" r="0" b="0"/>
          <a:pathLst>
            <a:path>
              <a:moveTo>
                <a:pt x="0" y="1217791"/>
              </a:moveTo>
              <a:lnTo>
                <a:pt x="142021" y="1217791"/>
              </a:lnTo>
              <a:lnTo>
                <a:pt x="142021" y="0"/>
              </a:lnTo>
              <a:lnTo>
                <a:pt x="28404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1797920" y="1337570"/>
        <a:ext cx="62523" cy="62523"/>
      </dsp:txXfrm>
    </dsp:sp>
    <dsp:sp modelId="{BBF2C805-17D2-4DC8-B5E3-47D725742B7F}">
      <dsp:nvSpPr>
        <dsp:cNvPr id="0" name=""/>
        <dsp:cNvSpPr/>
      </dsp:nvSpPr>
      <dsp:spPr>
        <a:xfrm>
          <a:off x="3391419" y="172976"/>
          <a:ext cx="284043" cy="91440"/>
        </a:xfrm>
        <a:custGeom>
          <a:avLst/>
          <a:gdLst/>
          <a:ahLst/>
          <a:cxnLst/>
          <a:rect l="0" t="0" r="0" b="0"/>
          <a:pathLst>
            <a:path>
              <a:moveTo>
                <a:pt x="0" y="45720"/>
              </a:moveTo>
              <a:lnTo>
                <a:pt x="284043" y="4572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3526339" y="211594"/>
        <a:ext cx="14202" cy="14202"/>
      </dsp:txXfrm>
    </dsp:sp>
    <dsp:sp modelId="{E085A80C-5CFB-48C4-99B2-D6D376C04826}">
      <dsp:nvSpPr>
        <dsp:cNvPr id="0" name=""/>
        <dsp:cNvSpPr/>
      </dsp:nvSpPr>
      <dsp:spPr>
        <a:xfrm>
          <a:off x="1687160" y="218696"/>
          <a:ext cx="284043" cy="1759032"/>
        </a:xfrm>
        <a:custGeom>
          <a:avLst/>
          <a:gdLst/>
          <a:ahLst/>
          <a:cxnLst/>
          <a:rect l="0" t="0" r="0" b="0"/>
          <a:pathLst>
            <a:path>
              <a:moveTo>
                <a:pt x="0" y="1759032"/>
              </a:moveTo>
              <a:lnTo>
                <a:pt x="142021" y="1759032"/>
              </a:lnTo>
              <a:lnTo>
                <a:pt x="142021" y="0"/>
              </a:lnTo>
              <a:lnTo>
                <a:pt x="284043"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1784636" y="1053666"/>
        <a:ext cx="89090" cy="89090"/>
      </dsp:txXfrm>
    </dsp:sp>
    <dsp:sp modelId="{E589B3FA-F31D-4360-A2B4-140845281945}">
      <dsp:nvSpPr>
        <dsp:cNvPr id="0" name=""/>
        <dsp:cNvSpPr/>
      </dsp:nvSpPr>
      <dsp:spPr>
        <a:xfrm rot="16200000">
          <a:off x="-465826" y="1761232"/>
          <a:ext cx="3872981"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Chairman &amp; Managing Director</a:t>
          </a:r>
        </a:p>
      </dsp:txBody>
      <dsp:txXfrm>
        <a:off x="-465826" y="1761232"/>
        <a:ext cx="3872981" cy="432992"/>
      </dsp:txXfrm>
    </dsp:sp>
    <dsp:sp modelId="{AAA3FC0D-B3C7-455D-8F5A-6F8C59B7F0B4}">
      <dsp:nvSpPr>
        <dsp:cNvPr id="0" name=""/>
        <dsp:cNvSpPr/>
      </dsp:nvSpPr>
      <dsp:spPr>
        <a:xfrm>
          <a:off x="1971203" y="2199"/>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Joint Managing Director</a:t>
          </a:r>
        </a:p>
      </dsp:txBody>
      <dsp:txXfrm>
        <a:off x="1971203" y="2199"/>
        <a:ext cx="1420215" cy="432992"/>
      </dsp:txXfrm>
    </dsp:sp>
    <dsp:sp modelId="{DBCD6FB0-C2DE-4902-96DF-C9A6BE941B6F}">
      <dsp:nvSpPr>
        <dsp:cNvPr id="0" name=""/>
        <dsp:cNvSpPr/>
      </dsp:nvSpPr>
      <dsp:spPr>
        <a:xfrm>
          <a:off x="3675462" y="2199"/>
          <a:ext cx="2697316"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R&amp;D, Operations, Technology, ADL</a:t>
          </a:r>
        </a:p>
      </dsp:txBody>
      <dsp:txXfrm>
        <a:off x="3675462" y="2199"/>
        <a:ext cx="2697316" cy="432992"/>
      </dsp:txXfrm>
    </dsp:sp>
    <dsp:sp modelId="{E25480DD-CA4A-450B-8249-9F0D8041BB28}">
      <dsp:nvSpPr>
        <dsp:cNvPr id="0" name=""/>
        <dsp:cNvSpPr/>
      </dsp:nvSpPr>
      <dsp:spPr>
        <a:xfrm>
          <a:off x="1971203" y="543440"/>
          <a:ext cx="312018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Sales, Marketing Strategy, Portfolio Management</a:t>
          </a:r>
        </a:p>
      </dsp:txBody>
      <dsp:txXfrm>
        <a:off x="1971203" y="543440"/>
        <a:ext cx="3120185" cy="432992"/>
      </dsp:txXfrm>
    </dsp:sp>
    <dsp:sp modelId="{965A06B0-48F4-43A6-ADD2-1E7ABE1821B4}">
      <dsp:nvSpPr>
        <dsp:cNvPr id="0" name=""/>
        <dsp:cNvSpPr/>
      </dsp:nvSpPr>
      <dsp:spPr>
        <a:xfrm>
          <a:off x="1971203" y="108468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Head Accounts (F&amp; A)</a:t>
          </a:r>
        </a:p>
      </dsp:txBody>
      <dsp:txXfrm>
        <a:off x="1971203" y="1084681"/>
        <a:ext cx="1420215" cy="432992"/>
      </dsp:txXfrm>
    </dsp:sp>
    <dsp:sp modelId="{1526E125-DA56-4639-B3BC-384DE375F35C}">
      <dsp:nvSpPr>
        <dsp:cNvPr id="0" name=""/>
        <dsp:cNvSpPr/>
      </dsp:nvSpPr>
      <dsp:spPr>
        <a:xfrm>
          <a:off x="1971203" y="162592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Director Manufacturing</a:t>
          </a:r>
        </a:p>
      </dsp:txBody>
      <dsp:txXfrm>
        <a:off x="1971203" y="1625921"/>
        <a:ext cx="1420215" cy="432992"/>
      </dsp:txXfrm>
    </dsp:sp>
    <dsp:sp modelId="{B38EB279-E80D-4AD4-9C62-5D90B36B9284}">
      <dsp:nvSpPr>
        <dsp:cNvPr id="0" name=""/>
        <dsp:cNvSpPr/>
      </dsp:nvSpPr>
      <dsp:spPr>
        <a:xfrm>
          <a:off x="3675462" y="108468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GM Manufacturing </a:t>
          </a:r>
        </a:p>
      </dsp:txBody>
      <dsp:txXfrm>
        <a:off x="3675462" y="1084681"/>
        <a:ext cx="1420215" cy="432992"/>
      </dsp:txXfrm>
    </dsp:sp>
    <dsp:sp modelId="{B4D36503-C9B1-4DC2-A75D-9C86EDCEDC7A}">
      <dsp:nvSpPr>
        <dsp:cNvPr id="0" name=""/>
        <dsp:cNvSpPr/>
      </dsp:nvSpPr>
      <dsp:spPr>
        <a:xfrm>
          <a:off x="3675462" y="162592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IN" sz="1000" kern="1200" dirty="0"/>
            <a:t>GM Works </a:t>
          </a:r>
        </a:p>
        <a:p>
          <a:pPr marL="0" lvl="0" algn="ctr" defTabSz="533400">
            <a:lnSpc>
              <a:spcPct val="90000"/>
            </a:lnSpc>
            <a:spcBef>
              <a:spcPct val="0"/>
            </a:spcBef>
            <a:spcAft>
              <a:spcPct val="35000"/>
            </a:spcAft>
            <a:buNone/>
          </a:pPr>
          <a:endParaRPr lang="en-IN" sz="1000" kern="1200" dirty="0"/>
        </a:p>
      </dsp:txBody>
      <dsp:txXfrm>
        <a:off x="3675462" y="1625921"/>
        <a:ext cx="1420215" cy="432992"/>
      </dsp:txXfrm>
    </dsp:sp>
    <dsp:sp modelId="{53FA902C-1915-4D1D-8BC5-736E515412DB}">
      <dsp:nvSpPr>
        <dsp:cNvPr id="0" name=""/>
        <dsp:cNvSpPr/>
      </dsp:nvSpPr>
      <dsp:spPr>
        <a:xfrm>
          <a:off x="5379721" y="108468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solidFill>
                <a:prstClr val="white"/>
              </a:solidFill>
              <a:latin typeface="Tahoma"/>
              <a:ea typeface="+mn-ea"/>
              <a:cs typeface="+mn-cs"/>
            </a:rPr>
            <a:t>Stores</a:t>
          </a:r>
        </a:p>
      </dsp:txBody>
      <dsp:txXfrm>
        <a:off x="5379721" y="1084681"/>
        <a:ext cx="1420215" cy="432992"/>
      </dsp:txXfrm>
    </dsp:sp>
    <dsp:sp modelId="{6BF3AEA1-BAC3-4443-AD86-7276E699A2D7}">
      <dsp:nvSpPr>
        <dsp:cNvPr id="0" name=""/>
        <dsp:cNvSpPr/>
      </dsp:nvSpPr>
      <dsp:spPr>
        <a:xfrm>
          <a:off x="5379721" y="1625921"/>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t>HSE</a:t>
          </a:r>
        </a:p>
      </dsp:txBody>
      <dsp:txXfrm>
        <a:off x="5379721" y="1625921"/>
        <a:ext cx="1420215" cy="432992"/>
      </dsp:txXfrm>
    </dsp:sp>
    <dsp:sp modelId="{05406DA6-8C74-41E1-A2A4-3DFDB29347D7}">
      <dsp:nvSpPr>
        <dsp:cNvPr id="0" name=""/>
        <dsp:cNvSpPr/>
      </dsp:nvSpPr>
      <dsp:spPr>
        <a:xfrm>
          <a:off x="5379721" y="2167162"/>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t>HR &amp; Admin</a:t>
          </a:r>
        </a:p>
      </dsp:txBody>
      <dsp:txXfrm>
        <a:off x="5379721" y="2167162"/>
        <a:ext cx="1420215" cy="432992"/>
      </dsp:txXfrm>
    </dsp:sp>
    <dsp:sp modelId="{8F5B3C9D-DB52-4F11-8044-1064D5AA4042}">
      <dsp:nvSpPr>
        <dsp:cNvPr id="0" name=""/>
        <dsp:cNvSpPr/>
      </dsp:nvSpPr>
      <dsp:spPr>
        <a:xfrm>
          <a:off x="3675462" y="2167162"/>
          <a:ext cx="1420215" cy="43299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GM Engineering </a:t>
          </a:r>
        </a:p>
      </dsp:txBody>
      <dsp:txXfrm>
        <a:off x="3675462" y="2167162"/>
        <a:ext cx="1420215" cy="432992"/>
      </dsp:txXfrm>
    </dsp:sp>
    <dsp:sp modelId="{BD077F20-BB78-41A0-9FCB-BA36747F0311}">
      <dsp:nvSpPr>
        <dsp:cNvPr id="0" name=""/>
        <dsp:cNvSpPr/>
      </dsp:nvSpPr>
      <dsp:spPr>
        <a:xfrm>
          <a:off x="1971203" y="3520264"/>
          <a:ext cx="1420215" cy="432992"/>
        </a:xfrm>
        <a:prstGeom prst="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Director Compliance</a:t>
          </a:r>
        </a:p>
      </dsp:txBody>
      <dsp:txXfrm>
        <a:off x="1971203" y="3520264"/>
        <a:ext cx="1420215" cy="432992"/>
      </dsp:txXfrm>
    </dsp:sp>
    <dsp:sp modelId="{D12B2D03-7757-4C90-A6F5-E811CD885F06}">
      <dsp:nvSpPr>
        <dsp:cNvPr id="0" name=""/>
        <dsp:cNvSpPr/>
      </dsp:nvSpPr>
      <dsp:spPr>
        <a:xfrm>
          <a:off x="3675462" y="2708403"/>
          <a:ext cx="1420215" cy="432992"/>
        </a:xfrm>
        <a:prstGeom prst="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IN" sz="1050" kern="1200" dirty="0"/>
            <a:t>QA</a:t>
          </a:r>
        </a:p>
      </dsp:txBody>
      <dsp:txXfrm>
        <a:off x="3675462" y="2708403"/>
        <a:ext cx="1420215" cy="432992"/>
      </dsp:txXfrm>
    </dsp:sp>
    <dsp:sp modelId="{D787A572-2C42-498C-8801-8F0C3CDCFFA8}">
      <dsp:nvSpPr>
        <dsp:cNvPr id="0" name=""/>
        <dsp:cNvSpPr/>
      </dsp:nvSpPr>
      <dsp:spPr>
        <a:xfrm>
          <a:off x="3675462" y="3249644"/>
          <a:ext cx="1420215" cy="432992"/>
        </a:xfrm>
        <a:prstGeom prst="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QC</a:t>
          </a:r>
        </a:p>
      </dsp:txBody>
      <dsp:txXfrm>
        <a:off x="3675462" y="3249644"/>
        <a:ext cx="1420215" cy="432992"/>
      </dsp:txXfrm>
    </dsp:sp>
    <dsp:sp modelId="{283E850A-BC92-46E2-9AF8-6775B0444780}">
      <dsp:nvSpPr>
        <dsp:cNvPr id="0" name=""/>
        <dsp:cNvSpPr/>
      </dsp:nvSpPr>
      <dsp:spPr>
        <a:xfrm>
          <a:off x="3675462" y="3790884"/>
          <a:ext cx="1420215" cy="432992"/>
        </a:xfrm>
        <a:prstGeom prst="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IN" sz="1000" kern="1200" dirty="0"/>
            <a:t>ADL</a:t>
          </a:r>
        </a:p>
      </dsp:txBody>
      <dsp:txXfrm>
        <a:off x="3675462" y="3790884"/>
        <a:ext cx="1420215" cy="432992"/>
      </dsp:txXfrm>
    </dsp:sp>
    <dsp:sp modelId="{F4005958-72C7-401B-8F2D-AB7AD97B8B42}">
      <dsp:nvSpPr>
        <dsp:cNvPr id="0" name=""/>
        <dsp:cNvSpPr/>
      </dsp:nvSpPr>
      <dsp:spPr>
        <a:xfrm>
          <a:off x="3675462" y="4332125"/>
          <a:ext cx="1420215" cy="432992"/>
        </a:xfrm>
        <a:prstGeom prst="rect">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en-IN" sz="1050" kern="1200" dirty="0"/>
            <a:t>Supply Chain  </a:t>
          </a:r>
        </a:p>
      </dsp:txBody>
      <dsp:txXfrm>
        <a:off x="3675462" y="4332125"/>
        <a:ext cx="1420215" cy="4329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B8895C-BF29-46DD-AD25-AF0306AD17B5}">
      <dsp:nvSpPr>
        <dsp:cNvPr id="0" name=""/>
        <dsp:cNvSpPr/>
      </dsp:nvSpPr>
      <dsp:spPr>
        <a:xfrm>
          <a:off x="4487523" y="3207871"/>
          <a:ext cx="4037795" cy="640822"/>
        </a:xfrm>
        <a:custGeom>
          <a:avLst/>
          <a:gdLst/>
          <a:ahLst/>
          <a:cxnLst/>
          <a:rect l="0" t="0" r="0" b="0"/>
          <a:pathLst>
            <a:path>
              <a:moveTo>
                <a:pt x="0" y="0"/>
              </a:moveTo>
              <a:lnTo>
                <a:pt x="0" y="516693"/>
              </a:lnTo>
              <a:lnTo>
                <a:pt x="4037795" y="516693"/>
              </a:lnTo>
              <a:lnTo>
                <a:pt x="4037795" y="640822"/>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94A8338-D800-4DF2-A721-19B413DA6843}">
      <dsp:nvSpPr>
        <dsp:cNvPr id="0" name=""/>
        <dsp:cNvSpPr/>
      </dsp:nvSpPr>
      <dsp:spPr>
        <a:xfrm>
          <a:off x="4487523" y="3207871"/>
          <a:ext cx="2512893" cy="640822"/>
        </a:xfrm>
        <a:custGeom>
          <a:avLst/>
          <a:gdLst/>
          <a:ahLst/>
          <a:cxnLst/>
          <a:rect l="0" t="0" r="0" b="0"/>
          <a:pathLst>
            <a:path>
              <a:moveTo>
                <a:pt x="0" y="0"/>
              </a:moveTo>
              <a:lnTo>
                <a:pt x="0" y="516693"/>
              </a:lnTo>
              <a:lnTo>
                <a:pt x="2512893" y="516693"/>
              </a:lnTo>
              <a:lnTo>
                <a:pt x="2512893" y="640822"/>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85E7DD1-C4A0-4E44-9BA2-68AA7BAE7BB1}">
      <dsp:nvSpPr>
        <dsp:cNvPr id="0" name=""/>
        <dsp:cNvSpPr/>
      </dsp:nvSpPr>
      <dsp:spPr>
        <a:xfrm>
          <a:off x="4487523" y="3207871"/>
          <a:ext cx="965631" cy="640822"/>
        </a:xfrm>
        <a:custGeom>
          <a:avLst/>
          <a:gdLst/>
          <a:ahLst/>
          <a:cxnLst/>
          <a:rect l="0" t="0" r="0" b="0"/>
          <a:pathLst>
            <a:path>
              <a:moveTo>
                <a:pt x="0" y="0"/>
              </a:moveTo>
              <a:lnTo>
                <a:pt x="0" y="516693"/>
              </a:lnTo>
              <a:lnTo>
                <a:pt x="965631" y="516693"/>
              </a:lnTo>
              <a:lnTo>
                <a:pt x="965631" y="640822"/>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E847F3F1-255D-4858-A5B0-E4C9C57E3D5C}">
      <dsp:nvSpPr>
        <dsp:cNvPr id="0" name=""/>
        <dsp:cNvSpPr/>
      </dsp:nvSpPr>
      <dsp:spPr>
        <a:xfrm>
          <a:off x="3807429" y="3207871"/>
          <a:ext cx="680094" cy="640822"/>
        </a:xfrm>
        <a:custGeom>
          <a:avLst/>
          <a:gdLst/>
          <a:ahLst/>
          <a:cxnLst/>
          <a:rect l="0" t="0" r="0" b="0"/>
          <a:pathLst>
            <a:path>
              <a:moveTo>
                <a:pt x="680094" y="0"/>
              </a:moveTo>
              <a:lnTo>
                <a:pt x="680094" y="516693"/>
              </a:lnTo>
              <a:lnTo>
                <a:pt x="0" y="516693"/>
              </a:lnTo>
              <a:lnTo>
                <a:pt x="0" y="640822"/>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4DCE1F7-CB19-44BA-9651-ABF3A6CAC63F}">
      <dsp:nvSpPr>
        <dsp:cNvPr id="0" name=""/>
        <dsp:cNvSpPr/>
      </dsp:nvSpPr>
      <dsp:spPr>
        <a:xfrm>
          <a:off x="2217366" y="3207871"/>
          <a:ext cx="2270157" cy="623302"/>
        </a:xfrm>
        <a:custGeom>
          <a:avLst/>
          <a:gdLst/>
          <a:ahLst/>
          <a:cxnLst/>
          <a:rect l="0" t="0" r="0" b="0"/>
          <a:pathLst>
            <a:path>
              <a:moveTo>
                <a:pt x="2270157" y="0"/>
              </a:moveTo>
              <a:lnTo>
                <a:pt x="2270157" y="499174"/>
              </a:lnTo>
              <a:lnTo>
                <a:pt x="0" y="499174"/>
              </a:lnTo>
              <a:lnTo>
                <a:pt x="0" y="623302"/>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C0EFBD62-2FE9-4B71-A032-62ED5F02941A}">
      <dsp:nvSpPr>
        <dsp:cNvPr id="0" name=""/>
        <dsp:cNvSpPr/>
      </dsp:nvSpPr>
      <dsp:spPr>
        <a:xfrm>
          <a:off x="718899" y="3207871"/>
          <a:ext cx="3768624" cy="517763"/>
        </a:xfrm>
        <a:custGeom>
          <a:avLst/>
          <a:gdLst/>
          <a:ahLst/>
          <a:cxnLst/>
          <a:rect l="0" t="0" r="0" b="0"/>
          <a:pathLst>
            <a:path>
              <a:moveTo>
                <a:pt x="3768624" y="0"/>
              </a:moveTo>
              <a:lnTo>
                <a:pt x="3768624" y="393635"/>
              </a:lnTo>
              <a:lnTo>
                <a:pt x="0" y="393635"/>
              </a:lnTo>
              <a:lnTo>
                <a:pt x="0" y="517763"/>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6DC7D96-1637-46A6-A942-667BC4C1F7E4}">
      <dsp:nvSpPr>
        <dsp:cNvPr id="0" name=""/>
        <dsp:cNvSpPr/>
      </dsp:nvSpPr>
      <dsp:spPr>
        <a:xfrm>
          <a:off x="4441803" y="1525451"/>
          <a:ext cx="91440" cy="369040"/>
        </a:xfrm>
        <a:custGeom>
          <a:avLst/>
          <a:gdLst/>
          <a:ahLst/>
          <a:cxnLst/>
          <a:rect l="0" t="0" r="0" b="0"/>
          <a:pathLst>
            <a:path>
              <a:moveTo>
                <a:pt x="45720" y="0"/>
              </a:moveTo>
              <a:lnTo>
                <a:pt x="45720" y="369040"/>
              </a:lnTo>
            </a:path>
          </a:pathLst>
        </a:custGeom>
        <a:noFill/>
        <a:ln w="25400" cap="flat" cmpd="sng" algn="ctr">
          <a:solidFill>
            <a:schemeClr val="dk2">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905FAEF-D423-4573-9490-12078D784050}">
      <dsp:nvSpPr>
        <dsp:cNvPr id="0" name=""/>
        <dsp:cNvSpPr/>
      </dsp:nvSpPr>
      <dsp:spPr>
        <a:xfrm>
          <a:off x="4438860" y="572799"/>
          <a:ext cx="91440" cy="351975"/>
        </a:xfrm>
        <a:custGeom>
          <a:avLst/>
          <a:gdLst/>
          <a:ahLst/>
          <a:cxnLst/>
          <a:rect l="0" t="0" r="0" b="0"/>
          <a:pathLst>
            <a:path>
              <a:moveTo>
                <a:pt x="45720" y="0"/>
              </a:moveTo>
              <a:lnTo>
                <a:pt x="45720" y="227846"/>
              </a:lnTo>
              <a:lnTo>
                <a:pt x="48663" y="227846"/>
              </a:lnTo>
              <a:lnTo>
                <a:pt x="48663" y="351975"/>
              </a:lnTo>
            </a:path>
          </a:pathLst>
        </a:custGeom>
        <a:noFill/>
        <a:ln w="25400" cap="flat" cmpd="sng" algn="ctr">
          <a:solidFill>
            <a:schemeClr val="dk2">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CE6B9C7-ADB4-4FE4-8B98-B73B485E5DAC}">
      <dsp:nvSpPr>
        <dsp:cNvPr id="0" name=""/>
        <dsp:cNvSpPr/>
      </dsp:nvSpPr>
      <dsp:spPr>
        <a:xfrm>
          <a:off x="3658616" y="203783"/>
          <a:ext cx="1651926" cy="369016"/>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QA Department</a:t>
          </a:r>
          <a:endParaRPr lang="en-IN" sz="1200" b="0" kern="1200" dirty="0">
            <a:solidFill>
              <a:schemeClr val="tx1"/>
            </a:solidFill>
            <a:latin typeface="Times New Roman" panose="02020603050405020304" pitchFamily="18" charset="0"/>
            <a:cs typeface="Times New Roman" panose="02020603050405020304" pitchFamily="18" charset="0"/>
          </a:endParaRPr>
        </a:p>
      </dsp:txBody>
      <dsp:txXfrm>
        <a:off x="3676630" y="221797"/>
        <a:ext cx="1615898" cy="332988"/>
      </dsp:txXfrm>
    </dsp:sp>
    <dsp:sp modelId="{2FD2EADD-7475-4844-B6EC-B218A7241810}">
      <dsp:nvSpPr>
        <dsp:cNvPr id="0" name=""/>
        <dsp:cNvSpPr/>
      </dsp:nvSpPr>
      <dsp:spPr>
        <a:xfrm>
          <a:off x="4050478" y="924775"/>
          <a:ext cx="874089" cy="600675"/>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DGM</a:t>
          </a:r>
          <a:endParaRPr lang="en-IN" sz="1200" b="0" kern="1200" dirty="0">
            <a:solidFill>
              <a:schemeClr val="tx1"/>
            </a:solidFill>
            <a:latin typeface="Times New Roman" panose="02020603050405020304" pitchFamily="18" charset="0"/>
            <a:cs typeface="Times New Roman" panose="02020603050405020304" pitchFamily="18" charset="0"/>
          </a:endParaRPr>
        </a:p>
      </dsp:txBody>
      <dsp:txXfrm>
        <a:off x="4079801" y="954098"/>
        <a:ext cx="815443" cy="542029"/>
      </dsp:txXfrm>
    </dsp:sp>
    <dsp:sp modelId="{190B3382-B4D5-46AA-B485-99EC0E237276}">
      <dsp:nvSpPr>
        <dsp:cNvPr id="0" name=""/>
        <dsp:cNvSpPr/>
      </dsp:nvSpPr>
      <dsp:spPr>
        <a:xfrm>
          <a:off x="3636421" y="1894491"/>
          <a:ext cx="1702204" cy="1313380"/>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Asst. Manager</a:t>
          </a:r>
        </a:p>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amp;</a:t>
          </a:r>
        </a:p>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Sr. Executive</a:t>
          </a:r>
          <a:endParaRPr lang="en-IN" sz="1200" b="0" kern="1200" dirty="0">
            <a:solidFill>
              <a:schemeClr val="tx1"/>
            </a:solidFill>
            <a:latin typeface="Times New Roman" panose="02020603050405020304" pitchFamily="18" charset="0"/>
            <a:cs typeface="Times New Roman" panose="02020603050405020304" pitchFamily="18" charset="0"/>
          </a:endParaRPr>
        </a:p>
      </dsp:txBody>
      <dsp:txXfrm>
        <a:off x="3700535" y="1958605"/>
        <a:ext cx="1573976" cy="1185152"/>
      </dsp:txXfrm>
    </dsp:sp>
    <dsp:sp modelId="{3F736053-C310-4C08-AB4F-53AEFC09AB5C}">
      <dsp:nvSpPr>
        <dsp:cNvPr id="0" name=""/>
        <dsp:cNvSpPr/>
      </dsp:nvSpPr>
      <dsp:spPr>
        <a:xfrm>
          <a:off x="0" y="3725635"/>
          <a:ext cx="1437798" cy="724780"/>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tx1"/>
              </a:solidFill>
              <a:latin typeface="Times New Roman" panose="02020603050405020304" pitchFamily="18" charset="0"/>
              <a:cs typeface="Times New Roman" panose="02020603050405020304" pitchFamily="18" charset="0"/>
            </a:rPr>
            <a:t>Executive</a:t>
          </a:r>
          <a:endParaRPr lang="en-IN" sz="1200" b="0" kern="1200" dirty="0">
            <a:solidFill>
              <a:schemeClr val="tx1"/>
            </a:solidFill>
            <a:latin typeface="Times New Roman" panose="02020603050405020304" pitchFamily="18" charset="0"/>
            <a:cs typeface="Times New Roman" panose="02020603050405020304" pitchFamily="18" charset="0"/>
          </a:endParaRPr>
        </a:p>
      </dsp:txBody>
      <dsp:txXfrm>
        <a:off x="35381" y="3761016"/>
        <a:ext cx="1367036" cy="654018"/>
      </dsp:txXfrm>
    </dsp:sp>
    <dsp:sp modelId="{5A56E394-BFAC-48A9-9A66-B1BBB3B7EDBC}">
      <dsp:nvSpPr>
        <dsp:cNvPr id="0" name=""/>
        <dsp:cNvSpPr/>
      </dsp:nvSpPr>
      <dsp:spPr>
        <a:xfrm>
          <a:off x="1626277" y="3831174"/>
          <a:ext cx="1182176" cy="664135"/>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kern="1200" cap="none" spc="0" dirty="0">
            <a:ln w="0"/>
            <a:solidFill>
              <a:schemeClr val="tx1"/>
            </a:solidFill>
            <a:effectLst/>
            <a:latin typeface="Times New Roman" panose="02020603050405020304" pitchFamily="18" charset="0"/>
            <a:cs typeface="Times New Roman" panose="02020603050405020304" pitchFamily="18" charset="0"/>
          </a:endParaRPr>
        </a:p>
      </dsp:txBody>
      <dsp:txXfrm>
        <a:off x="1658697" y="3863594"/>
        <a:ext cx="1117336" cy="599295"/>
      </dsp:txXfrm>
    </dsp:sp>
    <dsp:sp modelId="{0FBC4375-30D7-4148-8B59-1D881EA6D692}">
      <dsp:nvSpPr>
        <dsp:cNvPr id="0" name=""/>
        <dsp:cNvSpPr/>
      </dsp:nvSpPr>
      <dsp:spPr>
        <a:xfrm>
          <a:off x="3117877" y="3848694"/>
          <a:ext cx="1379103" cy="591088"/>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kern="1200" dirty="0">
            <a:solidFill>
              <a:schemeClr val="tx1"/>
            </a:solidFill>
            <a:effectLst/>
            <a:latin typeface="Times New Roman" panose="02020603050405020304" pitchFamily="18" charset="0"/>
            <a:cs typeface="Times New Roman" panose="02020603050405020304" pitchFamily="18" charset="0"/>
          </a:endParaRPr>
        </a:p>
      </dsp:txBody>
      <dsp:txXfrm>
        <a:off x="3146732" y="3877549"/>
        <a:ext cx="1321393" cy="533378"/>
      </dsp:txXfrm>
    </dsp:sp>
    <dsp:sp modelId="{ABF6F065-6EE2-429D-A7FE-47C427B347C7}">
      <dsp:nvSpPr>
        <dsp:cNvPr id="0" name=""/>
        <dsp:cNvSpPr/>
      </dsp:nvSpPr>
      <dsp:spPr>
        <a:xfrm>
          <a:off x="4745238" y="3848694"/>
          <a:ext cx="1415833" cy="591088"/>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kern="1200" cap="none" spc="0" dirty="0">
            <a:ln w="0"/>
            <a:solidFill>
              <a:schemeClr val="tx1"/>
            </a:solidFill>
            <a:effectLst/>
            <a:latin typeface="Times New Roman" panose="02020603050405020304" pitchFamily="18" charset="0"/>
            <a:cs typeface="Times New Roman" panose="02020603050405020304" pitchFamily="18" charset="0"/>
          </a:endParaRPr>
        </a:p>
      </dsp:txBody>
      <dsp:txXfrm>
        <a:off x="4774093" y="3877549"/>
        <a:ext cx="1358123" cy="533378"/>
      </dsp:txXfrm>
    </dsp:sp>
    <dsp:sp modelId="{1B9331ED-4C27-4FF5-A385-BC994A9D743C}">
      <dsp:nvSpPr>
        <dsp:cNvPr id="0" name=""/>
        <dsp:cNvSpPr/>
      </dsp:nvSpPr>
      <dsp:spPr>
        <a:xfrm>
          <a:off x="6409329" y="3848694"/>
          <a:ext cx="1182176" cy="591088"/>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kern="1200" cap="none" spc="0" dirty="0">
            <a:ln w="0"/>
            <a:solidFill>
              <a:schemeClr val="tx1"/>
            </a:solidFill>
            <a:effectLst/>
            <a:latin typeface="Times New Roman" panose="02020603050405020304" pitchFamily="18" charset="0"/>
            <a:cs typeface="Times New Roman" panose="02020603050405020304" pitchFamily="18" charset="0"/>
          </a:endParaRPr>
        </a:p>
      </dsp:txBody>
      <dsp:txXfrm>
        <a:off x="6438184" y="3877549"/>
        <a:ext cx="1124466" cy="533378"/>
      </dsp:txXfrm>
    </dsp:sp>
    <dsp:sp modelId="{9F94D9C3-0F94-48FA-BCEF-4D236D63EE61}">
      <dsp:nvSpPr>
        <dsp:cNvPr id="0" name=""/>
        <dsp:cNvSpPr/>
      </dsp:nvSpPr>
      <dsp:spPr>
        <a:xfrm>
          <a:off x="7839763" y="3848694"/>
          <a:ext cx="1371112" cy="591088"/>
        </a:xfrm>
        <a:prstGeom prst="roundRect">
          <a:avLst/>
        </a:prstGeom>
        <a:solidFill>
          <a:schemeClr val="l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cap="none" spc="0" dirty="0">
              <a:ln w="0"/>
              <a:solidFill>
                <a:schemeClr val="tx1"/>
              </a:solidFill>
              <a:effectLst/>
              <a:latin typeface="Times New Roman" panose="02020603050405020304" pitchFamily="18" charset="0"/>
              <a:cs typeface="Times New Roman" panose="02020603050405020304" pitchFamily="18" charset="0"/>
            </a:rPr>
            <a:t>QA Officer</a:t>
          </a:r>
          <a:endParaRPr lang="en-IN" sz="1200" b="0" kern="1200" cap="none" spc="0" dirty="0">
            <a:ln w="0"/>
            <a:solidFill>
              <a:schemeClr val="tx1"/>
            </a:solidFill>
            <a:effectLst/>
            <a:latin typeface="Times New Roman" panose="02020603050405020304" pitchFamily="18" charset="0"/>
            <a:cs typeface="Times New Roman" panose="02020603050405020304" pitchFamily="18" charset="0"/>
          </a:endParaRPr>
        </a:p>
      </dsp:txBody>
      <dsp:txXfrm>
        <a:off x="7868618" y="3877549"/>
        <a:ext cx="1313402" cy="53337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5A0BCB-106E-4B7D-B161-443EBCB670D0}">
      <dsp:nvSpPr>
        <dsp:cNvPr id="0" name=""/>
        <dsp:cNvSpPr/>
      </dsp:nvSpPr>
      <dsp:spPr>
        <a:xfrm>
          <a:off x="5495687" y="3678898"/>
          <a:ext cx="1155496" cy="308771"/>
        </a:xfrm>
        <a:custGeom>
          <a:avLst/>
          <a:gdLst/>
          <a:ahLst/>
          <a:cxnLst/>
          <a:rect l="0" t="0" r="0" b="0"/>
          <a:pathLst>
            <a:path>
              <a:moveTo>
                <a:pt x="0" y="0"/>
              </a:moveTo>
              <a:lnTo>
                <a:pt x="0" y="154385"/>
              </a:lnTo>
              <a:lnTo>
                <a:pt x="1155496" y="154385"/>
              </a:lnTo>
              <a:lnTo>
                <a:pt x="1155496"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042AAFB4-B90F-413D-B0F0-9CE9A6A99947}">
      <dsp:nvSpPr>
        <dsp:cNvPr id="0" name=""/>
        <dsp:cNvSpPr/>
      </dsp:nvSpPr>
      <dsp:spPr>
        <a:xfrm>
          <a:off x="4411046" y="3678898"/>
          <a:ext cx="1084641" cy="308771"/>
        </a:xfrm>
        <a:custGeom>
          <a:avLst/>
          <a:gdLst/>
          <a:ahLst/>
          <a:cxnLst/>
          <a:rect l="0" t="0" r="0" b="0"/>
          <a:pathLst>
            <a:path>
              <a:moveTo>
                <a:pt x="1084641" y="0"/>
              </a:moveTo>
              <a:lnTo>
                <a:pt x="1084641" y="154385"/>
              </a:lnTo>
              <a:lnTo>
                <a:pt x="0" y="154385"/>
              </a:lnTo>
              <a:lnTo>
                <a:pt x="0"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4A95A83A-E9BB-4020-BF73-3F2AAB1B26CC}">
      <dsp:nvSpPr>
        <dsp:cNvPr id="0" name=""/>
        <dsp:cNvSpPr/>
      </dsp:nvSpPr>
      <dsp:spPr>
        <a:xfrm>
          <a:off x="4060572" y="2634956"/>
          <a:ext cx="1435115" cy="308771"/>
        </a:xfrm>
        <a:custGeom>
          <a:avLst/>
          <a:gdLst/>
          <a:ahLst/>
          <a:cxnLst/>
          <a:rect l="0" t="0" r="0" b="0"/>
          <a:pathLst>
            <a:path>
              <a:moveTo>
                <a:pt x="0" y="0"/>
              </a:moveTo>
              <a:lnTo>
                <a:pt x="0" y="154385"/>
              </a:lnTo>
              <a:lnTo>
                <a:pt x="1435115" y="154385"/>
              </a:lnTo>
              <a:lnTo>
                <a:pt x="1435115"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A2AEB37D-4DBF-4AAE-99AF-83ED2254CD2A}">
      <dsp:nvSpPr>
        <dsp:cNvPr id="0" name=""/>
        <dsp:cNvSpPr/>
      </dsp:nvSpPr>
      <dsp:spPr>
        <a:xfrm>
          <a:off x="2320273" y="3678898"/>
          <a:ext cx="91440" cy="308771"/>
        </a:xfrm>
        <a:custGeom>
          <a:avLst/>
          <a:gdLst/>
          <a:ahLst/>
          <a:cxnLst/>
          <a:rect l="0" t="0" r="0" b="0"/>
          <a:pathLst>
            <a:path>
              <a:moveTo>
                <a:pt x="45720" y="0"/>
              </a:moveTo>
              <a:lnTo>
                <a:pt x="45720"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E7E6E12A-A989-4BD5-8080-BC7B4838DF1D}">
      <dsp:nvSpPr>
        <dsp:cNvPr id="0" name=""/>
        <dsp:cNvSpPr/>
      </dsp:nvSpPr>
      <dsp:spPr>
        <a:xfrm>
          <a:off x="2365993" y="2634956"/>
          <a:ext cx="1694579" cy="308771"/>
        </a:xfrm>
        <a:custGeom>
          <a:avLst/>
          <a:gdLst/>
          <a:ahLst/>
          <a:cxnLst/>
          <a:rect l="0" t="0" r="0" b="0"/>
          <a:pathLst>
            <a:path>
              <a:moveTo>
                <a:pt x="1694579" y="0"/>
              </a:moveTo>
              <a:lnTo>
                <a:pt x="1694579" y="154385"/>
              </a:lnTo>
              <a:lnTo>
                <a:pt x="0" y="154385"/>
              </a:lnTo>
              <a:lnTo>
                <a:pt x="0"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32352314-B258-46FC-8D11-75C5DF618025}">
      <dsp:nvSpPr>
        <dsp:cNvPr id="0" name=""/>
        <dsp:cNvSpPr/>
      </dsp:nvSpPr>
      <dsp:spPr>
        <a:xfrm>
          <a:off x="4014852" y="1591013"/>
          <a:ext cx="91440" cy="308771"/>
        </a:xfrm>
        <a:custGeom>
          <a:avLst/>
          <a:gdLst/>
          <a:ahLst/>
          <a:cxnLst/>
          <a:rect l="0" t="0" r="0" b="0"/>
          <a:pathLst>
            <a:path>
              <a:moveTo>
                <a:pt x="45720" y="0"/>
              </a:moveTo>
              <a:lnTo>
                <a:pt x="45720"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9FFFD934-AECD-4F1C-97D6-A094B3CAA19A}">
      <dsp:nvSpPr>
        <dsp:cNvPr id="0" name=""/>
        <dsp:cNvSpPr/>
      </dsp:nvSpPr>
      <dsp:spPr>
        <a:xfrm>
          <a:off x="4014852" y="736731"/>
          <a:ext cx="91440" cy="308771"/>
        </a:xfrm>
        <a:custGeom>
          <a:avLst/>
          <a:gdLst/>
          <a:ahLst/>
          <a:cxnLst/>
          <a:rect l="0" t="0" r="0" b="0"/>
          <a:pathLst>
            <a:path>
              <a:moveTo>
                <a:pt x="45720" y="0"/>
              </a:moveTo>
              <a:lnTo>
                <a:pt x="45720" y="308771"/>
              </a:lnTo>
            </a:path>
          </a:pathLst>
        </a:custGeom>
        <a:noFill/>
        <a:ln w="9525" cap="flat" cmpd="sng" algn="ctr">
          <a:solidFill>
            <a:scrgbClr r="0" g="0" b="0"/>
          </a:solidFill>
          <a:prstDash val="solid"/>
        </a:ln>
        <a:effectLst/>
      </dsp:spPr>
      <dsp:style>
        <a:lnRef idx="2">
          <a:scrgbClr r="0" g="0" b="0"/>
        </a:lnRef>
        <a:fillRef idx="0">
          <a:scrgbClr r="0" g="0" b="0"/>
        </a:fillRef>
        <a:effectRef idx="0">
          <a:scrgbClr r="0" g="0" b="0"/>
        </a:effectRef>
        <a:fontRef idx="minor"/>
      </dsp:style>
    </dsp:sp>
    <dsp:sp modelId="{F7CC5B47-DBE3-4144-B1DF-D73A1F910A40}">
      <dsp:nvSpPr>
        <dsp:cNvPr id="0" name=""/>
        <dsp:cNvSpPr/>
      </dsp:nvSpPr>
      <dsp:spPr>
        <a:xfrm>
          <a:off x="3325401" y="1560"/>
          <a:ext cx="1470341" cy="73517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QC </a:t>
          </a:r>
        </a:p>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Department</a:t>
          </a:r>
          <a:endParaRPr lang="en-IN" sz="1200" b="0" kern="1200" dirty="0">
            <a:latin typeface="Times New Roman" panose="02020603050405020304" pitchFamily="18" charset="0"/>
            <a:cs typeface="Times New Roman" panose="02020603050405020304" pitchFamily="18" charset="0"/>
          </a:endParaRPr>
        </a:p>
      </dsp:txBody>
      <dsp:txXfrm>
        <a:off x="3361289" y="37448"/>
        <a:ext cx="1398565" cy="663394"/>
      </dsp:txXfrm>
    </dsp:sp>
    <dsp:sp modelId="{F3DA3F9C-C0C5-4CB2-B9CE-54A3094A63DB}">
      <dsp:nvSpPr>
        <dsp:cNvPr id="0" name=""/>
        <dsp:cNvSpPr/>
      </dsp:nvSpPr>
      <dsp:spPr>
        <a:xfrm>
          <a:off x="2904038" y="1045502"/>
          <a:ext cx="2313067" cy="545511"/>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DGM </a:t>
          </a:r>
        </a:p>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R&amp;D &amp;ADL</a:t>
          </a:r>
          <a:endParaRPr lang="en-IN" sz="1200" b="0" kern="1200" dirty="0">
            <a:latin typeface="Times New Roman" panose="02020603050405020304" pitchFamily="18" charset="0"/>
            <a:cs typeface="Times New Roman" panose="02020603050405020304" pitchFamily="18" charset="0"/>
          </a:endParaRPr>
        </a:p>
      </dsp:txBody>
      <dsp:txXfrm>
        <a:off x="2930668" y="1072132"/>
        <a:ext cx="2259807" cy="492251"/>
      </dsp:txXfrm>
    </dsp:sp>
    <dsp:sp modelId="{004809F0-B4E1-4D0F-B3A8-11B2CEF9DFD6}">
      <dsp:nvSpPr>
        <dsp:cNvPr id="0" name=""/>
        <dsp:cNvSpPr/>
      </dsp:nvSpPr>
      <dsp:spPr>
        <a:xfrm>
          <a:off x="3325401" y="1899785"/>
          <a:ext cx="1470341" cy="73517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Sr. Manager ADL </a:t>
          </a:r>
          <a:endParaRPr lang="en-IN" sz="1200" b="0" kern="1200" dirty="0">
            <a:latin typeface="Times New Roman" panose="02020603050405020304" pitchFamily="18" charset="0"/>
            <a:cs typeface="Times New Roman" panose="02020603050405020304" pitchFamily="18" charset="0"/>
          </a:endParaRPr>
        </a:p>
      </dsp:txBody>
      <dsp:txXfrm>
        <a:off x="3361289" y="1935673"/>
        <a:ext cx="1398565" cy="663394"/>
      </dsp:txXfrm>
    </dsp:sp>
    <dsp:sp modelId="{F1EF926F-EBA7-47B1-B0EC-898602AAFB3A}">
      <dsp:nvSpPr>
        <dsp:cNvPr id="0" name=""/>
        <dsp:cNvSpPr/>
      </dsp:nvSpPr>
      <dsp:spPr>
        <a:xfrm>
          <a:off x="1630822" y="2943727"/>
          <a:ext cx="1470341" cy="73517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Asst. Manager</a:t>
          </a:r>
          <a:endParaRPr lang="en-IN" sz="1200" b="0" kern="1200" dirty="0">
            <a:latin typeface="Times New Roman" panose="02020603050405020304" pitchFamily="18" charset="0"/>
            <a:cs typeface="Times New Roman" panose="02020603050405020304" pitchFamily="18" charset="0"/>
          </a:endParaRPr>
        </a:p>
      </dsp:txBody>
      <dsp:txXfrm>
        <a:off x="1666710" y="2979615"/>
        <a:ext cx="1398565" cy="663394"/>
      </dsp:txXfrm>
    </dsp:sp>
    <dsp:sp modelId="{F56F4AA2-F802-4D23-8D2C-277B7F1CD936}">
      <dsp:nvSpPr>
        <dsp:cNvPr id="0" name=""/>
        <dsp:cNvSpPr/>
      </dsp:nvSpPr>
      <dsp:spPr>
        <a:xfrm>
          <a:off x="1630822" y="3987669"/>
          <a:ext cx="1470341" cy="73517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Microbiologist</a:t>
          </a:r>
          <a:endParaRPr lang="en-IN" sz="1200" b="0" kern="1200" dirty="0">
            <a:latin typeface="Times New Roman" panose="02020603050405020304" pitchFamily="18" charset="0"/>
            <a:cs typeface="Times New Roman" panose="02020603050405020304" pitchFamily="18" charset="0"/>
          </a:endParaRPr>
        </a:p>
      </dsp:txBody>
      <dsp:txXfrm>
        <a:off x="1666710" y="4023557"/>
        <a:ext cx="1398565" cy="663394"/>
      </dsp:txXfrm>
    </dsp:sp>
    <dsp:sp modelId="{71861FBB-C4DF-4C6D-A639-D3F23FF4DE05}">
      <dsp:nvSpPr>
        <dsp:cNvPr id="0" name=""/>
        <dsp:cNvSpPr/>
      </dsp:nvSpPr>
      <dsp:spPr>
        <a:xfrm>
          <a:off x="4501053" y="2943727"/>
          <a:ext cx="1989268" cy="73517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Asst. Manager</a:t>
          </a:r>
          <a:endParaRPr lang="en-IN" sz="1200" b="0" kern="1200" dirty="0">
            <a:latin typeface="Times New Roman" panose="02020603050405020304" pitchFamily="18" charset="0"/>
            <a:cs typeface="Times New Roman" panose="02020603050405020304" pitchFamily="18" charset="0"/>
          </a:endParaRPr>
        </a:p>
      </dsp:txBody>
      <dsp:txXfrm>
        <a:off x="4536941" y="2979615"/>
        <a:ext cx="1917492" cy="663394"/>
      </dsp:txXfrm>
    </dsp:sp>
    <dsp:sp modelId="{6A9EBC94-2B67-4B09-A686-C83A9D3F2421}">
      <dsp:nvSpPr>
        <dsp:cNvPr id="0" name=""/>
        <dsp:cNvSpPr/>
      </dsp:nvSpPr>
      <dsp:spPr>
        <a:xfrm>
          <a:off x="3409935" y="3987669"/>
          <a:ext cx="2002222" cy="680150"/>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Chemist</a:t>
          </a:r>
          <a:endParaRPr lang="en-IN" sz="1200" b="0" kern="1200" dirty="0">
            <a:latin typeface="Times New Roman" panose="02020603050405020304" pitchFamily="18" charset="0"/>
            <a:cs typeface="Times New Roman" panose="02020603050405020304" pitchFamily="18" charset="0"/>
          </a:endParaRPr>
        </a:p>
      </dsp:txBody>
      <dsp:txXfrm>
        <a:off x="3443137" y="4020871"/>
        <a:ext cx="1935818" cy="613746"/>
      </dsp:txXfrm>
    </dsp:sp>
    <dsp:sp modelId="{75A05023-817C-4E28-B94A-B10647AFBF56}">
      <dsp:nvSpPr>
        <dsp:cNvPr id="0" name=""/>
        <dsp:cNvSpPr/>
      </dsp:nvSpPr>
      <dsp:spPr>
        <a:xfrm>
          <a:off x="5720929" y="3987669"/>
          <a:ext cx="1860510" cy="691449"/>
        </a:xfrm>
        <a:prstGeom prst="roundRect">
          <a:avLst/>
        </a:prstGeom>
        <a:solidFill>
          <a:schemeClr val="lt1">
            <a:hueOff val="0"/>
            <a:satOff val="0"/>
            <a:lumOff val="0"/>
            <a:alphaOff val="0"/>
          </a:schemeClr>
        </a:solidFill>
        <a:ln w="9525"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latin typeface="Times New Roman" panose="02020603050405020304" pitchFamily="18" charset="0"/>
              <a:cs typeface="Times New Roman" panose="02020603050405020304" pitchFamily="18" charset="0"/>
            </a:rPr>
            <a:t>Chemist</a:t>
          </a:r>
          <a:endParaRPr lang="en-IN" sz="1200" b="0" kern="1200" dirty="0">
            <a:latin typeface="Times New Roman" panose="02020603050405020304" pitchFamily="18" charset="0"/>
            <a:cs typeface="Times New Roman" panose="02020603050405020304" pitchFamily="18" charset="0"/>
          </a:endParaRPr>
        </a:p>
      </dsp:txBody>
      <dsp:txXfrm>
        <a:off x="5754683" y="4021423"/>
        <a:ext cx="1793002" cy="6239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B324B9-37AA-4067-B856-D2E0F361529C}">
      <dsp:nvSpPr>
        <dsp:cNvPr id="0" name=""/>
        <dsp:cNvSpPr/>
      </dsp:nvSpPr>
      <dsp:spPr>
        <a:xfrm>
          <a:off x="0" y="0"/>
          <a:ext cx="6669000" cy="1165206"/>
        </a:xfrm>
        <a:prstGeom prst="roundRect">
          <a:avLst>
            <a:gd name="adj" fmla="val 10000"/>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dirty="0"/>
            <a:t> Central WHO certification </a:t>
          </a:r>
          <a:r>
            <a:rPr lang="en-IN" sz="1300" b="1" kern="1200" dirty="0"/>
            <a:t>GMP :- 2020</a:t>
          </a:r>
        </a:p>
        <a:p>
          <a:pPr marL="57150" lvl="1" indent="-57150" algn="l" defTabSz="444500">
            <a:lnSpc>
              <a:spcPct val="90000"/>
            </a:lnSpc>
            <a:spcBef>
              <a:spcPct val="0"/>
            </a:spcBef>
            <a:spcAft>
              <a:spcPct val="15000"/>
            </a:spcAft>
            <a:buChar char="•"/>
          </a:pPr>
          <a:r>
            <a:rPr lang="en-IN" sz="1000" kern="1200" dirty="0"/>
            <a:t>Certificate No.: NEW-WHO-GMP/CERT/ND/126239/2023/11/46894</a:t>
          </a:r>
          <a:r>
            <a:rPr lang="en-US" sz="1000" kern="1200" dirty="0"/>
            <a:t> </a:t>
          </a:r>
          <a:endParaRPr lang="en-IN" sz="1000" kern="1200" dirty="0"/>
        </a:p>
        <a:p>
          <a:pPr marL="57150" lvl="1" indent="-57150" algn="l" defTabSz="444500">
            <a:lnSpc>
              <a:spcPct val="90000"/>
            </a:lnSpc>
            <a:spcBef>
              <a:spcPct val="0"/>
            </a:spcBef>
            <a:spcAft>
              <a:spcPct val="15000"/>
            </a:spcAft>
            <a:buChar char="•"/>
          </a:pPr>
          <a:r>
            <a:rPr lang="en-US" sz="1000" kern="1200" dirty="0"/>
            <a:t>Validity 3 years 2020 </a:t>
          </a:r>
          <a:endParaRPr lang="en-IN" sz="1000" kern="1200" dirty="0"/>
        </a:p>
        <a:p>
          <a:pPr marL="57150" lvl="1" indent="-57150" algn="l" defTabSz="444500">
            <a:lnSpc>
              <a:spcPct val="90000"/>
            </a:lnSpc>
            <a:spcBef>
              <a:spcPct val="0"/>
            </a:spcBef>
            <a:spcAft>
              <a:spcPct val="15000"/>
            </a:spcAft>
            <a:buChar char="•"/>
          </a:pPr>
          <a:r>
            <a:rPr lang="en-US" sz="1000" kern="1200" dirty="0"/>
            <a:t> Renewal  June 2023   Valid Aug 2026 </a:t>
          </a:r>
          <a:endParaRPr lang="en-IN" sz="1000" kern="1200" dirty="0"/>
        </a:p>
        <a:p>
          <a:pPr marL="57150" lvl="1" indent="-57150" algn="l" defTabSz="444500">
            <a:lnSpc>
              <a:spcPct val="90000"/>
            </a:lnSpc>
            <a:spcBef>
              <a:spcPct val="0"/>
            </a:spcBef>
            <a:spcAft>
              <a:spcPct val="15000"/>
            </a:spcAft>
            <a:buChar char="•"/>
          </a:pPr>
          <a:r>
            <a:rPr lang="en-IN" sz="1000" kern="1200" dirty="0"/>
            <a:t> Dosage Form(s) Active Pharmaceutical Ingredients (Bulk Drugs)</a:t>
          </a:r>
        </a:p>
        <a:p>
          <a:pPr marL="57150" lvl="1" indent="-57150" algn="l" defTabSz="444500">
            <a:lnSpc>
              <a:spcPct val="90000"/>
            </a:lnSpc>
            <a:spcBef>
              <a:spcPct val="0"/>
            </a:spcBef>
            <a:spcAft>
              <a:spcPct val="15000"/>
            </a:spcAft>
            <a:buChar char="•"/>
          </a:pPr>
          <a:r>
            <a:rPr lang="en-IN" sz="1000" kern="1200" dirty="0"/>
            <a:t>Activity(</a:t>
          </a:r>
          <a:r>
            <a:rPr lang="en-IN" sz="1000" kern="1200" dirty="0" err="1"/>
            <a:t>ies</a:t>
          </a:r>
          <a:r>
            <a:rPr lang="en-IN" sz="1000" kern="1200" dirty="0"/>
            <a:t>) Synthesis, Purification, Packing, Labelling, Quality Control, Quality Assurance</a:t>
          </a:r>
        </a:p>
      </dsp:txBody>
      <dsp:txXfrm>
        <a:off x="1450320" y="0"/>
        <a:ext cx="5218679" cy="1165206"/>
      </dsp:txXfrm>
    </dsp:sp>
    <dsp:sp modelId="{6BAA568F-943E-4AF9-AE23-D8520A687871}">
      <dsp:nvSpPr>
        <dsp:cNvPr id="0" name=""/>
        <dsp:cNvSpPr/>
      </dsp:nvSpPr>
      <dsp:spPr>
        <a:xfrm>
          <a:off x="116520" y="116520"/>
          <a:ext cx="1333800" cy="932165"/>
        </a:xfrm>
        <a:prstGeom prst="roundRect">
          <a:avLst>
            <a:gd name="adj" fmla="val 10000"/>
          </a:avLst>
        </a:prstGeom>
        <a:blipFill rotWithShape="1">
          <a:blip xmlns:r="http://schemas.openxmlformats.org/officeDocument/2006/relationships" r:embed="rId1"/>
          <a:srcRect/>
          <a:stretch>
            <a:fillRect t="-31000" b="-3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B072B79-DBF1-4069-856D-FD045F092FE5}">
      <dsp:nvSpPr>
        <dsp:cNvPr id="0" name=""/>
        <dsp:cNvSpPr/>
      </dsp:nvSpPr>
      <dsp:spPr>
        <a:xfrm>
          <a:off x="0" y="1281727"/>
          <a:ext cx="6669000" cy="1165206"/>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a:t>Integrated </a:t>
          </a:r>
          <a:r>
            <a:rPr lang="en-US" sz="1300" b="1" kern="1200" dirty="0"/>
            <a:t>ISO Certification 2012</a:t>
          </a:r>
          <a:endParaRPr lang="en-IN" sz="1300" b="1" kern="1200" dirty="0"/>
        </a:p>
        <a:p>
          <a:pPr marL="57150" lvl="1" indent="-57150" algn="l" defTabSz="444500">
            <a:lnSpc>
              <a:spcPct val="90000"/>
            </a:lnSpc>
            <a:spcBef>
              <a:spcPct val="0"/>
            </a:spcBef>
            <a:spcAft>
              <a:spcPct val="15000"/>
            </a:spcAft>
            <a:buChar char="•"/>
          </a:pPr>
          <a:r>
            <a:rPr lang="en-IN" sz="1000" kern="1200" dirty="0"/>
            <a:t>Manufacturing of Speciality Chemicals, Agro Actives, APIs, &amp; Advanced Intermediates for Pharma &amp; Agro</a:t>
          </a:r>
        </a:p>
        <a:p>
          <a:pPr marL="57150" lvl="1" indent="-57150" algn="l" defTabSz="444500">
            <a:lnSpc>
              <a:spcPct val="90000"/>
            </a:lnSpc>
            <a:spcBef>
              <a:spcPct val="0"/>
            </a:spcBef>
            <a:spcAft>
              <a:spcPct val="15000"/>
            </a:spcAft>
            <a:buChar char="•"/>
          </a:pPr>
          <a:r>
            <a:rPr lang="en-IN" sz="1000" kern="1200" dirty="0"/>
            <a:t>ISO 9001:2015                  IRQS/210100486                           Valid 23/03/2024</a:t>
          </a:r>
        </a:p>
        <a:p>
          <a:pPr marL="57150" lvl="1" indent="-57150" algn="l" defTabSz="444500">
            <a:lnSpc>
              <a:spcPct val="90000"/>
            </a:lnSpc>
            <a:spcBef>
              <a:spcPct val="0"/>
            </a:spcBef>
            <a:spcAft>
              <a:spcPct val="15000"/>
            </a:spcAft>
            <a:buChar char="•"/>
          </a:pPr>
          <a:r>
            <a:rPr lang="en-IN" sz="1000" kern="1200" dirty="0"/>
            <a:t>ISO 14001:2015                IRQS/210300487                           Valid 23/03/2024</a:t>
          </a:r>
        </a:p>
        <a:p>
          <a:pPr marL="57150" lvl="1" indent="-57150" algn="l" defTabSz="444500">
            <a:lnSpc>
              <a:spcPct val="90000"/>
            </a:lnSpc>
            <a:spcBef>
              <a:spcPct val="0"/>
            </a:spcBef>
            <a:spcAft>
              <a:spcPct val="15000"/>
            </a:spcAft>
            <a:buChar char="•"/>
          </a:pPr>
          <a:r>
            <a:rPr lang="en-IN" sz="1000" kern="1200" dirty="0"/>
            <a:t>ISO-45001:2018                IRQS/210400488                           Valid 23/03/2024</a:t>
          </a:r>
        </a:p>
      </dsp:txBody>
      <dsp:txXfrm>
        <a:off x="1450320" y="1281727"/>
        <a:ext cx="5218679" cy="1165206"/>
      </dsp:txXfrm>
    </dsp:sp>
    <dsp:sp modelId="{41E58631-ABAA-44F8-9D0A-CC7962D37EC7}">
      <dsp:nvSpPr>
        <dsp:cNvPr id="0" name=""/>
        <dsp:cNvSpPr/>
      </dsp:nvSpPr>
      <dsp:spPr>
        <a:xfrm>
          <a:off x="116520" y="1398247"/>
          <a:ext cx="1333800" cy="932165"/>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31000" b="-3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87A7B1-034F-44DE-BFCC-6E5127287A53}">
      <dsp:nvSpPr>
        <dsp:cNvPr id="0" name=""/>
        <dsp:cNvSpPr/>
      </dsp:nvSpPr>
      <dsp:spPr>
        <a:xfrm>
          <a:off x="0" y="2563454"/>
          <a:ext cx="6669000" cy="1165206"/>
        </a:xfrm>
        <a:prstGeom prst="roundRect">
          <a:avLst>
            <a:gd name="adj" fmla="val 1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dirty="0"/>
            <a:t> State License for Manufacturing Healthcare Products 2018</a:t>
          </a:r>
          <a:endParaRPr lang="en-IN" sz="1300" b="1" kern="1200" dirty="0"/>
        </a:p>
        <a:p>
          <a:pPr marL="57150" lvl="1" indent="-57150" algn="l" defTabSz="444500">
            <a:lnSpc>
              <a:spcPct val="90000"/>
            </a:lnSpc>
            <a:spcBef>
              <a:spcPct val="0"/>
            </a:spcBef>
            <a:spcAft>
              <a:spcPct val="15000"/>
            </a:spcAft>
            <a:buChar char="•"/>
          </a:pPr>
          <a:r>
            <a:rPr lang="en-IN" sz="1000" kern="1200" dirty="0"/>
            <a:t>LICENSE No : 25-MH/102571</a:t>
          </a:r>
        </a:p>
        <a:p>
          <a:pPr marL="57150" lvl="1" indent="-57150" algn="l" defTabSz="444500">
            <a:lnSpc>
              <a:spcPct val="90000"/>
            </a:lnSpc>
            <a:spcBef>
              <a:spcPct val="0"/>
            </a:spcBef>
            <a:spcAft>
              <a:spcPct val="15000"/>
            </a:spcAft>
            <a:buChar char="•"/>
          </a:pPr>
          <a:r>
            <a:rPr lang="en-US" sz="1000" kern="1200" dirty="0"/>
            <a:t>Validity 5 Years </a:t>
          </a:r>
          <a:endParaRPr lang="en-IN" sz="1000" kern="1200" dirty="0"/>
        </a:p>
        <a:p>
          <a:pPr marL="57150" lvl="1" indent="-57150" algn="l" defTabSz="444500">
            <a:lnSpc>
              <a:spcPct val="90000"/>
            </a:lnSpc>
            <a:spcBef>
              <a:spcPct val="0"/>
            </a:spcBef>
            <a:spcAft>
              <a:spcPct val="15000"/>
            </a:spcAft>
            <a:buChar char="•"/>
          </a:pPr>
          <a:r>
            <a:rPr lang="en-US" sz="1000" kern="1200" dirty="0"/>
            <a:t>Renewal 2023  April valid up to April 2028</a:t>
          </a:r>
          <a:endParaRPr lang="en-IN" sz="1000" kern="1200" dirty="0"/>
        </a:p>
      </dsp:txBody>
      <dsp:txXfrm>
        <a:off x="1450320" y="2563454"/>
        <a:ext cx="5218679" cy="1165206"/>
      </dsp:txXfrm>
    </dsp:sp>
    <dsp:sp modelId="{5FD2938C-2487-45E8-B640-5436381129FF}">
      <dsp:nvSpPr>
        <dsp:cNvPr id="0" name=""/>
        <dsp:cNvSpPr/>
      </dsp:nvSpPr>
      <dsp:spPr>
        <a:xfrm>
          <a:off x="116520" y="2679974"/>
          <a:ext cx="1333800" cy="932165"/>
        </a:xfrm>
        <a:prstGeom prst="roundRect">
          <a:avLst>
            <a:gd name="adj" fmla="val 10000"/>
          </a:avLst>
        </a:prstGeom>
        <a:blipFill rotWithShape="1">
          <a:blip xmlns:r="http://schemas.openxmlformats.org/officeDocument/2006/relationships" r:embed="rId3"/>
          <a:srcRect/>
          <a:stretch>
            <a:fillRect t="-37000" b="-3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95D97E-FA04-455D-8E3E-DD0E9F96DD88}">
      <dsp:nvSpPr>
        <dsp:cNvPr id="0" name=""/>
        <dsp:cNvSpPr/>
      </dsp:nvSpPr>
      <dsp:spPr>
        <a:xfrm>
          <a:off x="0" y="3845181"/>
          <a:ext cx="6669000" cy="1165206"/>
        </a:xfrm>
        <a:prstGeom prst="roundRect">
          <a:avLst>
            <a:gd name="adj" fmla="val 10000"/>
          </a:avLst>
        </a:prstGeom>
        <a:solidFill>
          <a:srgbClr val="F57E1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lang="en-US" sz="1300" b="1" kern="1200" dirty="0"/>
            <a:t> State FDA approval 2019</a:t>
          </a:r>
          <a:endParaRPr lang="en-IN" sz="1300" b="1" kern="1200" dirty="0"/>
        </a:p>
        <a:p>
          <a:pPr marL="57150" lvl="1" indent="-57150" algn="l" defTabSz="444500">
            <a:lnSpc>
              <a:spcPct val="90000"/>
            </a:lnSpc>
            <a:spcBef>
              <a:spcPct val="0"/>
            </a:spcBef>
            <a:spcAft>
              <a:spcPct val="15000"/>
            </a:spcAft>
            <a:buChar char="•"/>
          </a:pPr>
          <a:r>
            <a:rPr lang="en-US" sz="1000" kern="1200" dirty="0"/>
            <a:t>Certificate number 6116113 </a:t>
          </a:r>
          <a:endParaRPr lang="en-IN" sz="1000" kern="1200" dirty="0"/>
        </a:p>
        <a:p>
          <a:pPr marL="57150" lvl="1" indent="-57150" algn="l" defTabSz="444500">
            <a:lnSpc>
              <a:spcPct val="90000"/>
            </a:lnSpc>
            <a:spcBef>
              <a:spcPct val="0"/>
            </a:spcBef>
            <a:spcAft>
              <a:spcPct val="15000"/>
            </a:spcAft>
            <a:buChar char="•"/>
          </a:pPr>
          <a:r>
            <a:rPr lang="en-US" sz="1000" kern="1200" dirty="0"/>
            <a:t>Validity Yearly</a:t>
          </a:r>
          <a:endParaRPr lang="en-IN" sz="1000" kern="1200" dirty="0"/>
        </a:p>
        <a:p>
          <a:pPr marL="57150" lvl="1" indent="-57150" algn="l" defTabSz="444500">
            <a:lnSpc>
              <a:spcPct val="90000"/>
            </a:lnSpc>
            <a:spcBef>
              <a:spcPct val="0"/>
            </a:spcBef>
            <a:spcAft>
              <a:spcPct val="15000"/>
            </a:spcAft>
            <a:buChar char="•"/>
          </a:pPr>
          <a:r>
            <a:rPr lang="en-US" sz="1000" kern="1200" dirty="0"/>
            <a:t>Valid 5/11/2024</a:t>
          </a:r>
          <a:endParaRPr lang="en-IN" sz="1000" kern="1200" dirty="0"/>
        </a:p>
      </dsp:txBody>
      <dsp:txXfrm>
        <a:off x="1450320" y="3845181"/>
        <a:ext cx="5218679" cy="1165206"/>
      </dsp:txXfrm>
    </dsp:sp>
    <dsp:sp modelId="{70009E8B-D260-4550-B06F-C6DD8486BCEC}">
      <dsp:nvSpPr>
        <dsp:cNvPr id="0" name=""/>
        <dsp:cNvSpPr/>
      </dsp:nvSpPr>
      <dsp:spPr>
        <a:xfrm>
          <a:off x="85563" y="4108126"/>
          <a:ext cx="1333800" cy="778507"/>
        </a:xfrm>
        <a:prstGeom prst="roundRect">
          <a:avLst>
            <a:gd name="adj" fmla="val 10000"/>
          </a:avLst>
        </a:prstGeom>
        <a:blipFill rotWithShape="1">
          <a:blip xmlns:r="http://schemas.openxmlformats.org/officeDocument/2006/relationships" r:embed="rId3"/>
          <a:srcRect/>
          <a:stretch>
            <a:fillRect t="-55000" b="-5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13BDE3-72E2-42B6-BAC5-EEC553707583}">
      <dsp:nvSpPr>
        <dsp:cNvPr id="0" name=""/>
        <dsp:cNvSpPr/>
      </dsp:nvSpPr>
      <dsp:spPr>
        <a:xfrm rot="5400000">
          <a:off x="5265944" y="-2284481"/>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38 nos.</a:t>
          </a:r>
        </a:p>
      </dsp:txBody>
      <dsp:txXfrm rot="-5400000">
        <a:off x="2919222" y="86468"/>
        <a:ext cx="5165501" cy="447829"/>
      </dsp:txXfrm>
    </dsp:sp>
    <dsp:sp modelId="{4EA03068-A3C1-4FC9-856B-BDE37F93EBD9}">
      <dsp:nvSpPr>
        <dsp:cNvPr id="0" name=""/>
        <dsp:cNvSpPr/>
      </dsp:nvSpPr>
      <dsp:spPr>
        <a:xfrm>
          <a:off x="0" y="205"/>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QA</a:t>
          </a:r>
        </a:p>
      </dsp:txBody>
      <dsp:txXfrm>
        <a:off x="30283" y="30488"/>
        <a:ext cx="2858656" cy="559788"/>
      </dsp:txXfrm>
    </dsp:sp>
    <dsp:sp modelId="{89C54003-F729-41F2-891C-9B135635F394}">
      <dsp:nvSpPr>
        <dsp:cNvPr id="0" name=""/>
        <dsp:cNvSpPr/>
      </dsp:nvSpPr>
      <dsp:spPr>
        <a:xfrm rot="5400000">
          <a:off x="5265944" y="-1633109"/>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138 nos.</a:t>
          </a:r>
        </a:p>
      </dsp:txBody>
      <dsp:txXfrm rot="-5400000">
        <a:off x="2919222" y="737840"/>
        <a:ext cx="5165501" cy="447829"/>
      </dsp:txXfrm>
    </dsp:sp>
    <dsp:sp modelId="{0AFD1FC5-EC4E-430B-95F5-05C5F1FFF12E}">
      <dsp:nvSpPr>
        <dsp:cNvPr id="0" name=""/>
        <dsp:cNvSpPr/>
      </dsp:nvSpPr>
      <dsp:spPr>
        <a:xfrm>
          <a:off x="0" y="651577"/>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QC + Microbiology +QCD</a:t>
          </a:r>
        </a:p>
      </dsp:txBody>
      <dsp:txXfrm>
        <a:off x="30283" y="681860"/>
        <a:ext cx="2858656" cy="559788"/>
      </dsp:txXfrm>
    </dsp:sp>
    <dsp:sp modelId="{751ABCCF-60A4-42BC-B4CA-7A847DE492AF}">
      <dsp:nvSpPr>
        <dsp:cNvPr id="0" name=""/>
        <dsp:cNvSpPr/>
      </dsp:nvSpPr>
      <dsp:spPr>
        <a:xfrm rot="5400000">
          <a:off x="5265944" y="-981736"/>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22 nos.</a:t>
          </a:r>
        </a:p>
      </dsp:txBody>
      <dsp:txXfrm rot="-5400000">
        <a:off x="2919222" y="1389213"/>
        <a:ext cx="5165501" cy="447829"/>
      </dsp:txXfrm>
    </dsp:sp>
    <dsp:sp modelId="{4F2594AE-9B11-4A28-9484-212591D86D3E}">
      <dsp:nvSpPr>
        <dsp:cNvPr id="0" name=""/>
        <dsp:cNvSpPr/>
      </dsp:nvSpPr>
      <dsp:spPr>
        <a:xfrm>
          <a:off x="0" y="1302949"/>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EHS </a:t>
          </a:r>
        </a:p>
      </dsp:txBody>
      <dsp:txXfrm>
        <a:off x="30283" y="1333232"/>
        <a:ext cx="2858656" cy="559788"/>
      </dsp:txXfrm>
    </dsp:sp>
    <dsp:sp modelId="{8038A76B-8073-4C8E-A7E7-AAD57AF6E3A6}">
      <dsp:nvSpPr>
        <dsp:cNvPr id="0" name=""/>
        <dsp:cNvSpPr/>
      </dsp:nvSpPr>
      <dsp:spPr>
        <a:xfrm rot="5400000">
          <a:off x="5265944" y="-330364"/>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126 nos.</a:t>
          </a:r>
        </a:p>
      </dsp:txBody>
      <dsp:txXfrm rot="-5400000">
        <a:off x="2919222" y="2040585"/>
        <a:ext cx="5165501" cy="447829"/>
      </dsp:txXfrm>
    </dsp:sp>
    <dsp:sp modelId="{8C0D55CF-465D-46F3-8712-CA64D7075E2C}">
      <dsp:nvSpPr>
        <dsp:cNvPr id="0" name=""/>
        <dsp:cNvSpPr/>
      </dsp:nvSpPr>
      <dsp:spPr>
        <a:xfrm>
          <a:off x="0" y="1954322"/>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Production </a:t>
          </a:r>
        </a:p>
      </dsp:txBody>
      <dsp:txXfrm>
        <a:off x="30283" y="1984605"/>
        <a:ext cx="2858656" cy="559788"/>
      </dsp:txXfrm>
    </dsp:sp>
    <dsp:sp modelId="{99C1FABA-ED20-4894-8400-44A5DA3D0C90}">
      <dsp:nvSpPr>
        <dsp:cNvPr id="0" name=""/>
        <dsp:cNvSpPr/>
      </dsp:nvSpPr>
      <dsp:spPr>
        <a:xfrm rot="5400000">
          <a:off x="5265944" y="321007"/>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US" sz="2500" kern="1200" dirty="0"/>
            <a:t>73 nos.</a:t>
          </a:r>
          <a:endParaRPr lang="en-IN" sz="2500" kern="1200" dirty="0"/>
        </a:p>
      </dsp:txBody>
      <dsp:txXfrm rot="-5400000">
        <a:off x="2919222" y="2691957"/>
        <a:ext cx="5165501" cy="447829"/>
      </dsp:txXfrm>
    </dsp:sp>
    <dsp:sp modelId="{88BCD58F-4711-4142-A616-F8181C1BD3C7}">
      <dsp:nvSpPr>
        <dsp:cNvPr id="0" name=""/>
        <dsp:cNvSpPr/>
      </dsp:nvSpPr>
      <dsp:spPr>
        <a:xfrm>
          <a:off x="0" y="2605694"/>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US" sz="1500" kern="1200" dirty="0"/>
            <a:t>R&amp;D +ADL </a:t>
          </a:r>
          <a:endParaRPr lang="en-IN" sz="1500" kern="1200" dirty="0"/>
        </a:p>
      </dsp:txBody>
      <dsp:txXfrm>
        <a:off x="30283" y="2635977"/>
        <a:ext cx="2858656" cy="559788"/>
      </dsp:txXfrm>
    </dsp:sp>
    <dsp:sp modelId="{828BBB99-A182-47C4-9F14-E0740C932157}">
      <dsp:nvSpPr>
        <dsp:cNvPr id="0" name=""/>
        <dsp:cNvSpPr/>
      </dsp:nvSpPr>
      <dsp:spPr>
        <a:xfrm rot="5400000">
          <a:off x="5265944" y="972379"/>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33 nos.</a:t>
          </a:r>
        </a:p>
      </dsp:txBody>
      <dsp:txXfrm rot="-5400000">
        <a:off x="2919222" y="3343329"/>
        <a:ext cx="5165501" cy="447829"/>
      </dsp:txXfrm>
    </dsp:sp>
    <dsp:sp modelId="{9B5E2344-4931-4326-B91E-CC8CA2E59952}">
      <dsp:nvSpPr>
        <dsp:cNvPr id="0" name=""/>
        <dsp:cNvSpPr/>
      </dsp:nvSpPr>
      <dsp:spPr>
        <a:xfrm>
          <a:off x="0" y="3257066"/>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Warehouse</a:t>
          </a:r>
        </a:p>
      </dsp:txBody>
      <dsp:txXfrm>
        <a:off x="30283" y="3287349"/>
        <a:ext cx="2858656" cy="559788"/>
      </dsp:txXfrm>
    </dsp:sp>
    <dsp:sp modelId="{E953C938-7A06-4717-AA01-7FB9A1E54091}">
      <dsp:nvSpPr>
        <dsp:cNvPr id="0" name=""/>
        <dsp:cNvSpPr/>
      </dsp:nvSpPr>
      <dsp:spPr>
        <a:xfrm rot="5400000">
          <a:off x="5265944" y="1623752"/>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63 nos.</a:t>
          </a:r>
        </a:p>
      </dsp:txBody>
      <dsp:txXfrm rot="-5400000">
        <a:off x="2919222" y="3994702"/>
        <a:ext cx="5165501" cy="447829"/>
      </dsp:txXfrm>
    </dsp:sp>
    <dsp:sp modelId="{9EB1674F-8DA0-418A-97F9-867D995592E9}">
      <dsp:nvSpPr>
        <dsp:cNvPr id="0" name=""/>
        <dsp:cNvSpPr/>
      </dsp:nvSpPr>
      <dsp:spPr>
        <a:xfrm>
          <a:off x="0" y="3908438"/>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Engineering (Electrical + Instrumentation + Maintenance)  </a:t>
          </a:r>
        </a:p>
      </dsp:txBody>
      <dsp:txXfrm>
        <a:off x="30283" y="3938721"/>
        <a:ext cx="2858656" cy="559788"/>
      </dsp:txXfrm>
    </dsp:sp>
    <dsp:sp modelId="{EC007B54-A60E-4B31-90B7-2AF7DDBCC475}">
      <dsp:nvSpPr>
        <dsp:cNvPr id="0" name=""/>
        <dsp:cNvSpPr/>
      </dsp:nvSpPr>
      <dsp:spPr>
        <a:xfrm rot="5400000">
          <a:off x="5265944" y="2275124"/>
          <a:ext cx="496283" cy="518972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IN" sz="2500" kern="1200" dirty="0"/>
            <a:t>16 nos.</a:t>
          </a:r>
        </a:p>
      </dsp:txBody>
      <dsp:txXfrm rot="-5400000">
        <a:off x="2919222" y="4646074"/>
        <a:ext cx="5165501" cy="447829"/>
      </dsp:txXfrm>
    </dsp:sp>
    <dsp:sp modelId="{08158AE9-45F9-410B-B1EA-BB4336695B8B}">
      <dsp:nvSpPr>
        <dsp:cNvPr id="0" name=""/>
        <dsp:cNvSpPr/>
      </dsp:nvSpPr>
      <dsp:spPr>
        <a:xfrm>
          <a:off x="0" y="4559810"/>
          <a:ext cx="2919222" cy="62035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28575" rIns="57150" bIns="28575" numCol="1" spcCol="1270" anchor="ctr" anchorCtr="0">
          <a:noAutofit/>
        </a:bodyPr>
        <a:lstStyle/>
        <a:p>
          <a:pPr marL="0" lvl="0" indent="0" algn="ctr" defTabSz="666750">
            <a:lnSpc>
              <a:spcPct val="90000"/>
            </a:lnSpc>
            <a:spcBef>
              <a:spcPct val="0"/>
            </a:spcBef>
            <a:spcAft>
              <a:spcPct val="35000"/>
            </a:spcAft>
            <a:buNone/>
          </a:pPr>
          <a:r>
            <a:rPr lang="en-IN" sz="1500" kern="1200" dirty="0"/>
            <a:t>HR &amp; Admin</a:t>
          </a:r>
        </a:p>
      </dsp:txBody>
      <dsp:txXfrm>
        <a:off x="30283" y="4590093"/>
        <a:ext cx="2858656" cy="5597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011CCB-48AF-4C05-AC4B-D18E6A3FCFBC}">
      <dsp:nvSpPr>
        <dsp:cNvPr id="0" name=""/>
        <dsp:cNvSpPr/>
      </dsp:nvSpPr>
      <dsp:spPr>
        <a:xfrm>
          <a:off x="251306" y="71546"/>
          <a:ext cx="2251022" cy="1663496"/>
        </a:xfrm>
        <a:prstGeom prst="rect">
          <a:avLst/>
        </a:prstGeom>
        <a:blipFill rotWithShape="1">
          <a:blip xmlns:r="http://schemas.openxmlformats.org/officeDocument/2006/relationships" r:embed="rId1"/>
          <a:srcRect/>
          <a:stretch>
            <a:fillRect t="-12000" b="-12000"/>
          </a:stretch>
        </a:blipFill>
        <a:ln>
          <a:noFill/>
        </a:ln>
        <a:effectLst/>
      </dsp:spPr>
      <dsp:style>
        <a:lnRef idx="0">
          <a:scrgbClr r="0" g="0" b="0"/>
        </a:lnRef>
        <a:fillRef idx="1">
          <a:scrgbClr r="0" g="0" b="0"/>
        </a:fillRef>
        <a:effectRef idx="0">
          <a:scrgbClr r="0" g="0" b="0"/>
        </a:effectRef>
        <a:fontRef idx="minor"/>
      </dsp:style>
    </dsp:sp>
    <dsp:sp modelId="{A11D78F1-28E9-4629-BDAA-3F3A1864D479}">
      <dsp:nvSpPr>
        <dsp:cNvPr id="0" name=""/>
        <dsp:cNvSpPr/>
      </dsp:nvSpPr>
      <dsp:spPr>
        <a:xfrm>
          <a:off x="706299" y="1433420"/>
          <a:ext cx="1939710" cy="4661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Raw material entry </a:t>
          </a:r>
          <a:endParaRPr lang="en-IN" sz="1300" kern="1200" dirty="0"/>
        </a:p>
      </dsp:txBody>
      <dsp:txXfrm>
        <a:off x="706299" y="1433420"/>
        <a:ext cx="1939710" cy="466144"/>
      </dsp:txXfrm>
    </dsp:sp>
    <dsp:sp modelId="{AAA5CADE-2684-4576-B7A3-75C016186848}">
      <dsp:nvSpPr>
        <dsp:cNvPr id="0" name=""/>
        <dsp:cNvSpPr/>
      </dsp:nvSpPr>
      <dsp:spPr>
        <a:xfrm>
          <a:off x="3028572" y="71546"/>
          <a:ext cx="2251022" cy="1663496"/>
        </a:xfrm>
        <a:prstGeom prst="rect">
          <a:avLst/>
        </a:prstGeom>
        <a:blipFill rotWithShape="1">
          <a:blip xmlns:r="http://schemas.openxmlformats.org/officeDocument/2006/relationships" r:embed="rId2"/>
          <a:srcRect/>
          <a:stretch>
            <a:fillRect t="-33000" b="-33000"/>
          </a:stretch>
        </a:blipFill>
        <a:ln>
          <a:noFill/>
        </a:ln>
        <a:effectLst/>
      </dsp:spPr>
      <dsp:style>
        <a:lnRef idx="0">
          <a:scrgbClr r="0" g="0" b="0"/>
        </a:lnRef>
        <a:fillRef idx="1">
          <a:scrgbClr r="0" g="0" b="0"/>
        </a:fillRef>
        <a:effectRef idx="0">
          <a:scrgbClr r="0" g="0" b="0"/>
        </a:effectRef>
        <a:fontRef idx="minor"/>
      </dsp:style>
    </dsp:sp>
    <dsp:sp modelId="{88F2BC87-E93A-4AEA-8B2C-3E3E6D063614}">
      <dsp:nvSpPr>
        <dsp:cNvPr id="0" name=""/>
        <dsp:cNvSpPr/>
      </dsp:nvSpPr>
      <dsp:spPr>
        <a:xfrm>
          <a:off x="3200407" y="1564560"/>
          <a:ext cx="1939710" cy="4661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Raw Material Sampling</a:t>
          </a:r>
          <a:endParaRPr lang="en-IN" sz="1300" kern="1200" dirty="0"/>
        </a:p>
      </dsp:txBody>
      <dsp:txXfrm>
        <a:off x="3200407" y="1564560"/>
        <a:ext cx="1939710" cy="466144"/>
      </dsp:txXfrm>
    </dsp:sp>
    <dsp:sp modelId="{5C77BA56-90FD-473D-8F89-2E950CFC3619}">
      <dsp:nvSpPr>
        <dsp:cNvPr id="0" name=""/>
        <dsp:cNvSpPr/>
      </dsp:nvSpPr>
      <dsp:spPr>
        <a:xfrm>
          <a:off x="5805838" y="71546"/>
          <a:ext cx="2251022" cy="1663496"/>
        </a:xfrm>
        <a:prstGeom prst="rect">
          <a:avLst/>
        </a:prstGeom>
        <a:blipFill rotWithShape="1">
          <a:blip xmlns:r="http://schemas.openxmlformats.org/officeDocument/2006/relationships" r:embed="rId3"/>
          <a:srcRect/>
          <a:stretch>
            <a:fillRect t="-35000" b="-35000"/>
          </a:stretch>
        </a:blipFill>
        <a:ln>
          <a:noFill/>
        </a:ln>
        <a:effectLst/>
      </dsp:spPr>
      <dsp:style>
        <a:lnRef idx="0">
          <a:scrgbClr r="0" g="0" b="0"/>
        </a:lnRef>
        <a:fillRef idx="1">
          <a:scrgbClr r="0" g="0" b="0"/>
        </a:fillRef>
        <a:effectRef idx="0">
          <a:scrgbClr r="0" g="0" b="0"/>
        </a:effectRef>
        <a:fontRef idx="minor"/>
      </dsp:style>
    </dsp:sp>
    <dsp:sp modelId="{C2A3D334-942B-4D0A-8AA9-12C876583441}">
      <dsp:nvSpPr>
        <dsp:cNvPr id="0" name=""/>
        <dsp:cNvSpPr/>
      </dsp:nvSpPr>
      <dsp:spPr>
        <a:xfrm>
          <a:off x="6019803" y="1583607"/>
          <a:ext cx="1939710" cy="4661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Raw Material Analysis </a:t>
          </a:r>
          <a:endParaRPr lang="en-IN" sz="1300" kern="1200" dirty="0"/>
        </a:p>
      </dsp:txBody>
      <dsp:txXfrm>
        <a:off x="6019803" y="1583607"/>
        <a:ext cx="1939710" cy="466144"/>
      </dsp:txXfrm>
    </dsp:sp>
    <dsp:sp modelId="{0F3E0B5F-1187-4F95-A459-0FB81B668E41}">
      <dsp:nvSpPr>
        <dsp:cNvPr id="0" name=""/>
        <dsp:cNvSpPr/>
      </dsp:nvSpPr>
      <dsp:spPr>
        <a:xfrm>
          <a:off x="251306" y="2139035"/>
          <a:ext cx="2251022" cy="1663496"/>
        </a:xfrm>
        <a:prstGeom prst="rect">
          <a:avLst/>
        </a:prstGeom>
        <a:blipFill rotWithShape="1">
          <a:blip xmlns:r="http://schemas.openxmlformats.org/officeDocument/2006/relationships" r:embed="rId4"/>
          <a:srcRect/>
          <a:stretch>
            <a:fillRect t="-34000" b="-34000"/>
          </a:stretch>
        </a:blipFill>
        <a:ln>
          <a:noFill/>
        </a:ln>
        <a:effectLst/>
      </dsp:spPr>
      <dsp:style>
        <a:lnRef idx="0">
          <a:scrgbClr r="0" g="0" b="0"/>
        </a:lnRef>
        <a:fillRef idx="1">
          <a:scrgbClr r="0" g="0" b="0"/>
        </a:fillRef>
        <a:effectRef idx="0">
          <a:scrgbClr r="0" g="0" b="0"/>
        </a:effectRef>
        <a:fontRef idx="minor"/>
      </dsp:style>
    </dsp:sp>
    <dsp:sp modelId="{863F48F2-40E8-49CC-BC82-8B193B8DA7AC}">
      <dsp:nvSpPr>
        <dsp:cNvPr id="0" name=""/>
        <dsp:cNvSpPr/>
      </dsp:nvSpPr>
      <dsp:spPr>
        <a:xfrm>
          <a:off x="706299" y="3500909"/>
          <a:ext cx="1939710" cy="4661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Raw Material Approval &amp; Storage</a:t>
          </a:r>
          <a:endParaRPr lang="en-IN" sz="1300" kern="1200" dirty="0"/>
        </a:p>
      </dsp:txBody>
      <dsp:txXfrm>
        <a:off x="706299" y="3500909"/>
        <a:ext cx="1939710" cy="466144"/>
      </dsp:txXfrm>
    </dsp:sp>
    <dsp:sp modelId="{B6F1431D-70F5-4B70-B4FC-402DA8969F1D}">
      <dsp:nvSpPr>
        <dsp:cNvPr id="0" name=""/>
        <dsp:cNvSpPr/>
      </dsp:nvSpPr>
      <dsp:spPr>
        <a:xfrm>
          <a:off x="3028572" y="2139035"/>
          <a:ext cx="2251022" cy="1663496"/>
        </a:xfrm>
        <a:prstGeom prst="rect">
          <a:avLst/>
        </a:prstGeom>
        <a:blipFill rotWithShape="1">
          <a:blip xmlns:r="http://schemas.openxmlformats.org/officeDocument/2006/relationships" r:embed="rId5"/>
          <a:srcRect/>
          <a:stretch>
            <a:fillRect t="-35000" b="-35000"/>
          </a:stretch>
        </a:blipFill>
        <a:ln>
          <a:noFill/>
        </a:ln>
        <a:effectLst/>
      </dsp:spPr>
      <dsp:style>
        <a:lnRef idx="0">
          <a:scrgbClr r="0" g="0" b="0"/>
        </a:lnRef>
        <a:fillRef idx="1">
          <a:scrgbClr r="0" g="0" b="0"/>
        </a:fillRef>
        <a:effectRef idx="0">
          <a:scrgbClr r="0" g="0" b="0"/>
        </a:effectRef>
        <a:fontRef idx="minor"/>
      </dsp:style>
    </dsp:sp>
    <dsp:sp modelId="{AE1F0795-863F-40A7-B86C-0B8D1E954F9B}">
      <dsp:nvSpPr>
        <dsp:cNvPr id="0" name=""/>
        <dsp:cNvSpPr/>
      </dsp:nvSpPr>
      <dsp:spPr>
        <a:xfrm>
          <a:off x="3483566" y="3500909"/>
          <a:ext cx="1939710" cy="4661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Raw Material Approval </a:t>
          </a:r>
          <a:endParaRPr lang="en-IN" sz="1300" kern="1200" dirty="0"/>
        </a:p>
      </dsp:txBody>
      <dsp:txXfrm>
        <a:off x="3483566" y="3500909"/>
        <a:ext cx="1939710" cy="466144"/>
      </dsp:txXfrm>
    </dsp:sp>
    <dsp:sp modelId="{B5221D01-1A96-4C56-B5C9-E76E37A39092}">
      <dsp:nvSpPr>
        <dsp:cNvPr id="0" name=""/>
        <dsp:cNvSpPr/>
      </dsp:nvSpPr>
      <dsp:spPr>
        <a:xfrm>
          <a:off x="5826187" y="2096038"/>
          <a:ext cx="2251022" cy="1563254"/>
        </a:xfrm>
        <a:prstGeom prst="rect">
          <a:avLst/>
        </a:prstGeom>
        <a:blipFill rotWithShape="1">
          <a:blip xmlns:r="http://schemas.openxmlformats.org/officeDocument/2006/relationships" r:embed="rId6"/>
          <a:srcRect/>
          <a:stretch>
            <a:fillRect l="-58000" r="-58000"/>
          </a:stretch>
        </a:blipFill>
        <a:ln>
          <a:noFill/>
        </a:ln>
        <a:effectLst/>
      </dsp:spPr>
      <dsp:style>
        <a:lnRef idx="0">
          <a:scrgbClr r="0" g="0" b="0"/>
        </a:lnRef>
        <a:fillRef idx="1">
          <a:scrgbClr r="0" g="0" b="0"/>
        </a:fillRef>
        <a:effectRef idx="0">
          <a:scrgbClr r="0" g="0" b="0"/>
        </a:effectRef>
        <a:fontRef idx="minor"/>
      </dsp:style>
    </dsp:sp>
    <dsp:sp modelId="{2EAEE2DF-7D3D-45F1-9A3B-7DDA5E50515B}">
      <dsp:nvSpPr>
        <dsp:cNvPr id="0" name=""/>
        <dsp:cNvSpPr/>
      </dsp:nvSpPr>
      <dsp:spPr>
        <a:xfrm>
          <a:off x="5943592" y="3626737"/>
          <a:ext cx="1939710" cy="41186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5000"/>
            </a:spcAft>
            <a:buNone/>
          </a:pPr>
          <a:r>
            <a:rPr lang="en-US" sz="1300" kern="1200" dirty="0"/>
            <a:t>Intermediate and API Storage</a:t>
          </a:r>
          <a:endParaRPr lang="en-IN" sz="1300" kern="1200" dirty="0"/>
        </a:p>
      </dsp:txBody>
      <dsp:txXfrm>
        <a:off x="5943592" y="3626737"/>
        <a:ext cx="1939710" cy="41186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011CCB-48AF-4C05-AC4B-D18E6A3FCFBC}">
      <dsp:nvSpPr>
        <dsp:cNvPr id="0" name=""/>
        <dsp:cNvSpPr/>
      </dsp:nvSpPr>
      <dsp:spPr>
        <a:xfrm>
          <a:off x="319307" y="82186"/>
          <a:ext cx="1807699" cy="1335883"/>
        </a:xfrm>
        <a:prstGeom prst="rect">
          <a:avLst/>
        </a:prstGeom>
        <a:blipFill rotWithShape="1">
          <a:blip xmlns:r="http://schemas.openxmlformats.org/officeDocument/2006/relationships" r:embed="rId1"/>
          <a:srcRect/>
          <a:stretch>
            <a:fillRect t="-35000" b="-35000"/>
          </a:stretch>
        </a:blipFill>
        <a:ln>
          <a:noFill/>
        </a:ln>
        <a:effectLst/>
      </dsp:spPr>
      <dsp:style>
        <a:lnRef idx="0">
          <a:scrgbClr r="0" g="0" b="0"/>
        </a:lnRef>
        <a:fillRef idx="1">
          <a:scrgbClr r="0" g="0" b="0"/>
        </a:fillRef>
        <a:effectRef idx="0">
          <a:scrgbClr r="0" g="0" b="0"/>
        </a:effectRef>
        <a:fontRef idx="minor"/>
      </dsp:style>
    </dsp:sp>
    <dsp:sp modelId="{A11D78F1-28E9-4629-BDAA-3F3A1864D479}">
      <dsp:nvSpPr>
        <dsp:cNvPr id="0" name=""/>
        <dsp:cNvSpPr/>
      </dsp:nvSpPr>
      <dsp:spPr>
        <a:xfrm>
          <a:off x="457206" y="1219201"/>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Store issue &amp; dispensed the material </a:t>
          </a:r>
          <a:endParaRPr lang="en-IN" sz="1100" kern="1200" dirty="0"/>
        </a:p>
      </dsp:txBody>
      <dsp:txXfrm>
        <a:off x="457206" y="1219201"/>
        <a:ext cx="1557698" cy="374340"/>
      </dsp:txXfrm>
    </dsp:sp>
    <dsp:sp modelId="{AAA5CADE-2684-4576-B7A3-75C016186848}">
      <dsp:nvSpPr>
        <dsp:cNvPr id="0" name=""/>
        <dsp:cNvSpPr/>
      </dsp:nvSpPr>
      <dsp:spPr>
        <a:xfrm>
          <a:off x="2513407" y="82186"/>
          <a:ext cx="1807699" cy="1335883"/>
        </a:xfrm>
        <a:prstGeom prst="rect">
          <a:avLst/>
        </a:prstGeom>
        <a:blipFill rotWithShape="1">
          <a:blip xmlns:r="http://schemas.openxmlformats.org/officeDocument/2006/relationships" r:embed="rId2"/>
          <a:srcRect/>
          <a:stretch>
            <a:fillRect t="-60000" b="-60000"/>
          </a:stretch>
        </a:blipFill>
        <a:ln>
          <a:noFill/>
        </a:ln>
        <a:effectLst/>
      </dsp:spPr>
      <dsp:style>
        <a:lnRef idx="0">
          <a:scrgbClr r="0" g="0" b="0"/>
        </a:lnRef>
        <a:fillRef idx="1">
          <a:scrgbClr r="0" g="0" b="0"/>
        </a:fillRef>
        <a:effectRef idx="0">
          <a:scrgbClr r="0" g="0" b="0"/>
        </a:effectRef>
        <a:fontRef idx="minor"/>
      </dsp:style>
    </dsp:sp>
    <dsp:sp modelId="{88F2BC87-E93A-4AEA-8B2C-3E3E6D063614}">
      <dsp:nvSpPr>
        <dsp:cNvPr id="0" name=""/>
        <dsp:cNvSpPr/>
      </dsp:nvSpPr>
      <dsp:spPr>
        <a:xfrm>
          <a:off x="2758445" y="1219201"/>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Reaction Process </a:t>
          </a:r>
          <a:endParaRPr lang="en-IN" sz="1100" kern="1200" dirty="0"/>
        </a:p>
      </dsp:txBody>
      <dsp:txXfrm>
        <a:off x="2758445" y="1219201"/>
        <a:ext cx="1557698" cy="374340"/>
      </dsp:txXfrm>
    </dsp:sp>
    <dsp:sp modelId="{62DBE511-E997-4ED5-97A9-2C4C70AD8BF9}">
      <dsp:nvSpPr>
        <dsp:cNvPr id="0" name=""/>
        <dsp:cNvSpPr/>
      </dsp:nvSpPr>
      <dsp:spPr>
        <a:xfrm>
          <a:off x="4707508" y="82186"/>
          <a:ext cx="1807699" cy="1335883"/>
        </a:xfrm>
        <a:prstGeom prst="rect">
          <a:avLst/>
        </a:prstGeom>
        <a:blipFill rotWithShape="1">
          <a:blip xmlns:r="http://schemas.openxmlformats.org/officeDocument/2006/relationships" r:embed="rId3"/>
          <a:srcRect/>
          <a:stretch>
            <a:fillRect t="-25000" b="-25000"/>
          </a:stretch>
        </a:blipFill>
        <a:ln>
          <a:noFill/>
        </a:ln>
        <a:effectLst/>
      </dsp:spPr>
      <dsp:style>
        <a:lnRef idx="0">
          <a:scrgbClr r="0" g="0" b="0"/>
        </a:lnRef>
        <a:fillRef idx="1">
          <a:scrgbClr r="0" g="0" b="0"/>
        </a:fillRef>
        <a:effectRef idx="0">
          <a:scrgbClr r="0" g="0" b="0"/>
        </a:effectRef>
        <a:fontRef idx="minor"/>
      </dsp:style>
    </dsp:sp>
    <dsp:sp modelId="{AAF0E751-EB18-40CC-A04B-C4DD54052402}">
      <dsp:nvSpPr>
        <dsp:cNvPr id="0" name=""/>
        <dsp:cNvSpPr/>
      </dsp:nvSpPr>
      <dsp:spPr>
        <a:xfrm>
          <a:off x="4879007" y="1219201"/>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Operations</a:t>
          </a:r>
          <a:endParaRPr lang="en-IN" sz="1100" kern="1200" dirty="0"/>
        </a:p>
      </dsp:txBody>
      <dsp:txXfrm>
        <a:off x="4879007" y="1219201"/>
        <a:ext cx="1557698" cy="374340"/>
      </dsp:txXfrm>
    </dsp:sp>
    <dsp:sp modelId="{6E62CEB0-6884-4B16-A140-A8028FC83ABE}">
      <dsp:nvSpPr>
        <dsp:cNvPr id="0" name=""/>
        <dsp:cNvSpPr/>
      </dsp:nvSpPr>
      <dsp:spPr>
        <a:xfrm>
          <a:off x="6901608" y="82186"/>
          <a:ext cx="1807699" cy="1335883"/>
        </a:xfrm>
        <a:prstGeom prst="rect">
          <a:avLst/>
        </a:prstGeom>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t="-40000" b="-40000"/>
          </a:stretch>
        </a:blipFill>
        <a:ln>
          <a:noFill/>
        </a:ln>
        <a:effectLst/>
      </dsp:spPr>
      <dsp:style>
        <a:lnRef idx="0">
          <a:scrgbClr r="0" g="0" b="0"/>
        </a:lnRef>
        <a:fillRef idx="1">
          <a:scrgbClr r="0" g="0" b="0"/>
        </a:fillRef>
        <a:effectRef idx="0">
          <a:scrgbClr r="0" g="0" b="0"/>
        </a:effectRef>
        <a:fontRef idx="minor"/>
      </dsp:style>
    </dsp:sp>
    <dsp:sp modelId="{719CDEE6-6AA4-47C4-930B-8A2D0F15D42D}">
      <dsp:nvSpPr>
        <dsp:cNvPr id="0" name=""/>
        <dsp:cNvSpPr/>
      </dsp:nvSpPr>
      <dsp:spPr>
        <a:xfrm>
          <a:off x="7014803" y="1219201"/>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IPC</a:t>
          </a:r>
          <a:endParaRPr lang="en-IN" sz="1100" kern="1200" dirty="0"/>
        </a:p>
      </dsp:txBody>
      <dsp:txXfrm>
        <a:off x="7014803" y="1219201"/>
        <a:ext cx="1557698" cy="374340"/>
      </dsp:txXfrm>
    </dsp:sp>
    <dsp:sp modelId="{5C77BA56-90FD-473D-8F89-2E950CFC3619}">
      <dsp:nvSpPr>
        <dsp:cNvPr id="0" name=""/>
        <dsp:cNvSpPr/>
      </dsp:nvSpPr>
      <dsp:spPr>
        <a:xfrm rot="5400000">
          <a:off x="449757" y="1742498"/>
          <a:ext cx="1328405" cy="1335883"/>
        </a:xfrm>
        <a:prstGeom prst="rect">
          <a:avLst/>
        </a:prstGeom>
        <a:blipFill rotWithShape="1">
          <a:blip xmlns:r="http://schemas.openxmlformats.org/officeDocument/2006/relationships" r:embed="rId5" cstate="print">
            <a:extLst>
              <a:ext uri="{28A0092B-C50C-407E-A947-70E740481C1C}">
                <a14:useLocalDpi xmlns:a14="http://schemas.microsoft.com/office/drawing/2010/main" val="0"/>
              </a:ext>
            </a:extLst>
          </a:blip>
          <a:srcRect/>
          <a:stretch>
            <a:fillRect t="-1000" b="-1000"/>
          </a:stretch>
        </a:blipFill>
        <a:ln>
          <a:noFill/>
        </a:ln>
        <a:effectLst/>
      </dsp:spPr>
      <dsp:style>
        <a:lnRef idx="0">
          <a:scrgbClr r="0" g="0" b="0"/>
        </a:lnRef>
        <a:fillRef idx="1">
          <a:scrgbClr r="0" g="0" b="0"/>
        </a:fillRef>
        <a:effectRef idx="0">
          <a:scrgbClr r="0" g="0" b="0"/>
        </a:effectRef>
        <a:fontRef idx="minor"/>
      </dsp:style>
    </dsp:sp>
    <dsp:sp modelId="{C2A3D334-942B-4D0A-8AA9-12C876583441}">
      <dsp:nvSpPr>
        <dsp:cNvPr id="0" name=""/>
        <dsp:cNvSpPr/>
      </dsp:nvSpPr>
      <dsp:spPr>
        <a:xfrm>
          <a:off x="412881" y="2895602"/>
          <a:ext cx="151518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Physical Isolation </a:t>
          </a:r>
          <a:endParaRPr lang="en-IN" sz="1100" kern="1200" dirty="0"/>
        </a:p>
      </dsp:txBody>
      <dsp:txXfrm>
        <a:off x="412881" y="2895602"/>
        <a:ext cx="1515188" cy="374340"/>
      </dsp:txXfrm>
    </dsp:sp>
    <dsp:sp modelId="{5584A16D-9AF1-4402-A6ED-C9D512BC6BE5}">
      <dsp:nvSpPr>
        <dsp:cNvPr id="0" name=""/>
        <dsp:cNvSpPr/>
      </dsp:nvSpPr>
      <dsp:spPr>
        <a:xfrm>
          <a:off x="2382956" y="1742498"/>
          <a:ext cx="1807699" cy="1335883"/>
        </a:xfrm>
        <a:prstGeom prst="rect">
          <a:avLst/>
        </a:prstGeom>
        <a:blipFill rotWithShape="1">
          <a:blip xmlns:r="http://schemas.openxmlformats.org/officeDocument/2006/relationships" r:embed="rId6"/>
          <a:srcRect/>
          <a:stretch>
            <a:fillRect t="-38000" b="-38000"/>
          </a:stretch>
        </a:blipFill>
        <a:ln>
          <a:noFill/>
        </a:ln>
        <a:effectLst/>
      </dsp:spPr>
      <dsp:style>
        <a:lnRef idx="0">
          <a:scrgbClr r="0" g="0" b="0"/>
        </a:lnRef>
        <a:fillRef idx="1">
          <a:scrgbClr r="0" g="0" b="0"/>
        </a:fillRef>
        <a:effectRef idx="0">
          <a:scrgbClr r="0" g="0" b="0"/>
        </a:effectRef>
        <a:fontRef idx="minor"/>
      </dsp:style>
    </dsp:sp>
    <dsp:sp modelId="{32E1D169-A18F-4FC7-B122-3C50875E3AE4}">
      <dsp:nvSpPr>
        <dsp:cNvPr id="0" name=""/>
        <dsp:cNvSpPr/>
      </dsp:nvSpPr>
      <dsp:spPr>
        <a:xfrm>
          <a:off x="2748342" y="2836160"/>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IN" sz="1100" kern="1200" dirty="0"/>
            <a:t>Tray dryer </a:t>
          </a:r>
        </a:p>
      </dsp:txBody>
      <dsp:txXfrm>
        <a:off x="2748342" y="2836160"/>
        <a:ext cx="1557698" cy="374340"/>
      </dsp:txXfrm>
    </dsp:sp>
    <dsp:sp modelId="{7BF8577C-C21A-4B23-AB81-8D615C1ECD84}">
      <dsp:nvSpPr>
        <dsp:cNvPr id="0" name=""/>
        <dsp:cNvSpPr/>
      </dsp:nvSpPr>
      <dsp:spPr>
        <a:xfrm>
          <a:off x="4577057" y="1742498"/>
          <a:ext cx="1807699" cy="1335883"/>
        </a:xfrm>
        <a:prstGeom prst="rect">
          <a:avLst/>
        </a:prstGeom>
        <a:blipFill rotWithShape="1">
          <a:blip xmlns:r="http://schemas.openxmlformats.org/officeDocument/2006/relationships" r:embed="rId7"/>
          <a:srcRect/>
          <a:stretch>
            <a:fillRect t="-44000" b="-44000"/>
          </a:stretch>
        </a:blipFill>
        <a:ln>
          <a:noFill/>
        </a:ln>
        <a:effectLst/>
      </dsp:spPr>
      <dsp:style>
        <a:lnRef idx="0">
          <a:scrgbClr r="0" g="0" b="0"/>
        </a:lnRef>
        <a:fillRef idx="1">
          <a:scrgbClr r="0" g="0" b="0"/>
        </a:fillRef>
        <a:effectRef idx="0">
          <a:scrgbClr r="0" g="0" b="0"/>
        </a:effectRef>
        <a:fontRef idx="minor"/>
      </dsp:style>
    </dsp:sp>
    <dsp:sp modelId="{038A7C02-72B4-4C16-82A3-935AA62AC791}">
      <dsp:nvSpPr>
        <dsp:cNvPr id="0" name=""/>
        <dsp:cNvSpPr/>
      </dsp:nvSpPr>
      <dsp:spPr>
        <a:xfrm>
          <a:off x="4942443" y="2836160"/>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IN" sz="1100" kern="1200" dirty="0"/>
            <a:t>RCVD</a:t>
          </a:r>
        </a:p>
      </dsp:txBody>
      <dsp:txXfrm>
        <a:off x="4942443" y="2836160"/>
        <a:ext cx="1557698" cy="374340"/>
      </dsp:txXfrm>
    </dsp:sp>
    <dsp:sp modelId="{0F3E0B5F-1187-4F95-A459-0FB81B668E41}">
      <dsp:nvSpPr>
        <dsp:cNvPr id="0" name=""/>
        <dsp:cNvSpPr/>
      </dsp:nvSpPr>
      <dsp:spPr>
        <a:xfrm>
          <a:off x="6771157" y="1742498"/>
          <a:ext cx="1807699" cy="1335883"/>
        </a:xfrm>
        <a:prstGeom prst="rect">
          <a:avLst/>
        </a:prstGeom>
        <a:blipFill rotWithShape="1">
          <a:blip xmlns:r="http://schemas.openxmlformats.org/officeDocument/2006/relationships" r:embed="rId8"/>
          <a:srcRect/>
          <a:stretch>
            <a:fillRect t="-50000" b="-50000"/>
          </a:stretch>
        </a:blipFill>
        <a:ln>
          <a:noFill/>
        </a:ln>
        <a:effectLst/>
      </dsp:spPr>
      <dsp:style>
        <a:lnRef idx="0">
          <a:scrgbClr r="0" g="0" b="0"/>
        </a:lnRef>
        <a:fillRef idx="1">
          <a:scrgbClr r="0" g="0" b="0"/>
        </a:fillRef>
        <a:effectRef idx="0">
          <a:scrgbClr r="0" g="0" b="0"/>
        </a:effectRef>
        <a:fontRef idx="minor"/>
      </dsp:style>
    </dsp:sp>
    <dsp:sp modelId="{863F48F2-40E8-49CC-BC82-8B193B8DA7AC}">
      <dsp:nvSpPr>
        <dsp:cNvPr id="0" name=""/>
        <dsp:cNvSpPr/>
      </dsp:nvSpPr>
      <dsp:spPr>
        <a:xfrm>
          <a:off x="6892172" y="2895602"/>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Co milling </a:t>
          </a:r>
          <a:endParaRPr lang="en-IN" sz="1100" kern="1200" dirty="0"/>
        </a:p>
      </dsp:txBody>
      <dsp:txXfrm>
        <a:off x="6892172" y="2895602"/>
        <a:ext cx="1557698" cy="374340"/>
      </dsp:txXfrm>
    </dsp:sp>
    <dsp:sp modelId="{B6F1431D-70F5-4B70-B4FC-402DA8969F1D}">
      <dsp:nvSpPr>
        <dsp:cNvPr id="0" name=""/>
        <dsp:cNvSpPr/>
      </dsp:nvSpPr>
      <dsp:spPr>
        <a:xfrm>
          <a:off x="319307" y="3402810"/>
          <a:ext cx="1807699" cy="1335883"/>
        </a:xfrm>
        <a:prstGeom prst="rect">
          <a:avLst/>
        </a:prstGeom>
        <a:blipFill rotWithShape="1">
          <a:blip xmlns:r="http://schemas.openxmlformats.org/officeDocument/2006/relationships" r:embed="rId9"/>
          <a:srcRect/>
          <a:stretch>
            <a:fillRect t="-36000" b="-36000"/>
          </a:stretch>
        </a:blipFill>
        <a:ln>
          <a:noFill/>
        </a:ln>
        <a:effectLst/>
      </dsp:spPr>
      <dsp:style>
        <a:lnRef idx="0">
          <a:scrgbClr r="0" g="0" b="0"/>
        </a:lnRef>
        <a:fillRef idx="1">
          <a:scrgbClr r="0" g="0" b="0"/>
        </a:fillRef>
        <a:effectRef idx="0">
          <a:scrgbClr r="0" g="0" b="0"/>
        </a:effectRef>
        <a:fontRef idx="minor"/>
      </dsp:style>
    </dsp:sp>
    <dsp:sp modelId="{AE1F0795-863F-40A7-B86C-0B8D1E954F9B}">
      <dsp:nvSpPr>
        <dsp:cNvPr id="0" name=""/>
        <dsp:cNvSpPr/>
      </dsp:nvSpPr>
      <dsp:spPr>
        <a:xfrm>
          <a:off x="684693" y="4496472"/>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Sifter </a:t>
          </a:r>
          <a:endParaRPr lang="en-IN" sz="1100" kern="1200" dirty="0"/>
        </a:p>
      </dsp:txBody>
      <dsp:txXfrm>
        <a:off x="684693" y="4496472"/>
        <a:ext cx="1557698" cy="374340"/>
      </dsp:txXfrm>
    </dsp:sp>
    <dsp:sp modelId="{B5221D01-1A96-4C56-B5C9-E76E37A39092}">
      <dsp:nvSpPr>
        <dsp:cNvPr id="0" name=""/>
        <dsp:cNvSpPr/>
      </dsp:nvSpPr>
      <dsp:spPr>
        <a:xfrm>
          <a:off x="2513407" y="3402810"/>
          <a:ext cx="1807699" cy="1335883"/>
        </a:xfrm>
        <a:prstGeom prst="rect">
          <a:avLst/>
        </a:prstGeom>
        <a:blipFill rotWithShape="1">
          <a:blip xmlns:r="http://schemas.openxmlformats.org/officeDocument/2006/relationships" r:embed="rId10"/>
          <a:srcRect/>
          <a:stretch>
            <a:fillRect t="-33000" b="-33000"/>
          </a:stretch>
        </a:blipFill>
        <a:ln>
          <a:noFill/>
        </a:ln>
        <a:effectLst/>
      </dsp:spPr>
      <dsp:style>
        <a:lnRef idx="0">
          <a:scrgbClr r="0" g="0" b="0"/>
        </a:lnRef>
        <a:fillRef idx="1">
          <a:scrgbClr r="0" g="0" b="0"/>
        </a:fillRef>
        <a:effectRef idx="0">
          <a:scrgbClr r="0" g="0" b="0"/>
        </a:effectRef>
        <a:fontRef idx="minor"/>
      </dsp:style>
    </dsp:sp>
    <dsp:sp modelId="{2EAEE2DF-7D3D-45F1-9A3B-7DDA5E50515B}">
      <dsp:nvSpPr>
        <dsp:cNvPr id="0" name=""/>
        <dsp:cNvSpPr/>
      </dsp:nvSpPr>
      <dsp:spPr>
        <a:xfrm>
          <a:off x="2676448" y="4479713"/>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Final analysis </a:t>
          </a:r>
          <a:endParaRPr lang="en-IN" sz="1100" kern="1200" dirty="0"/>
        </a:p>
      </dsp:txBody>
      <dsp:txXfrm>
        <a:off x="2676448" y="4479713"/>
        <a:ext cx="1557698" cy="374340"/>
      </dsp:txXfrm>
    </dsp:sp>
    <dsp:sp modelId="{33D78FBF-F07C-4E0B-9E88-F0F7BB780A30}">
      <dsp:nvSpPr>
        <dsp:cNvPr id="0" name=""/>
        <dsp:cNvSpPr/>
      </dsp:nvSpPr>
      <dsp:spPr>
        <a:xfrm>
          <a:off x="4707508" y="3402810"/>
          <a:ext cx="1807699" cy="1335883"/>
        </a:xfrm>
        <a:prstGeom prst="rect">
          <a:avLst/>
        </a:prstGeom>
        <a:blipFill rotWithShape="1">
          <a:blip xmlns:r="http://schemas.openxmlformats.org/officeDocument/2006/relationships" r:embed="rId11" cstate="print">
            <a:extLst>
              <a:ext uri="{28A0092B-C50C-407E-A947-70E740481C1C}">
                <a14:useLocalDpi xmlns:a14="http://schemas.microsoft.com/office/drawing/2010/main" val="0"/>
              </a:ext>
            </a:extLst>
          </a:blip>
          <a:srcRect/>
          <a:stretch>
            <a:fillRect t="-40000" b="-40000"/>
          </a:stretch>
        </a:blipFill>
        <a:ln>
          <a:noFill/>
        </a:ln>
        <a:effectLst/>
      </dsp:spPr>
      <dsp:style>
        <a:lnRef idx="0">
          <a:scrgbClr r="0" g="0" b="0"/>
        </a:lnRef>
        <a:fillRef idx="1">
          <a:scrgbClr r="0" g="0" b="0"/>
        </a:fillRef>
        <a:effectRef idx="0">
          <a:scrgbClr r="0" g="0" b="0"/>
        </a:effectRef>
        <a:fontRef idx="minor"/>
      </dsp:style>
    </dsp:sp>
    <dsp:sp modelId="{7A5B1AD2-5915-4169-B80A-5291073BA319}">
      <dsp:nvSpPr>
        <dsp:cNvPr id="0" name=""/>
        <dsp:cNvSpPr/>
      </dsp:nvSpPr>
      <dsp:spPr>
        <a:xfrm>
          <a:off x="4861093" y="4495798"/>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Approved Material </a:t>
          </a:r>
          <a:endParaRPr lang="en-IN" sz="1100" kern="1200" dirty="0"/>
        </a:p>
      </dsp:txBody>
      <dsp:txXfrm>
        <a:off x="4861093" y="4495798"/>
        <a:ext cx="1557698" cy="374340"/>
      </dsp:txXfrm>
    </dsp:sp>
    <dsp:sp modelId="{A1EEFD0B-C547-4545-A6C1-A026E734673C}">
      <dsp:nvSpPr>
        <dsp:cNvPr id="0" name=""/>
        <dsp:cNvSpPr/>
      </dsp:nvSpPr>
      <dsp:spPr>
        <a:xfrm>
          <a:off x="6901608" y="3402810"/>
          <a:ext cx="1807699" cy="1335883"/>
        </a:xfrm>
        <a:prstGeom prst="rect">
          <a:avLst/>
        </a:prstGeom>
        <a:blipFill rotWithShape="1">
          <a:blip xmlns:r="http://schemas.openxmlformats.org/officeDocument/2006/relationships" r:embed="rId12" cstate="print">
            <a:extLst>
              <a:ext uri="{28A0092B-C50C-407E-A947-70E740481C1C}">
                <a14:useLocalDpi xmlns:a14="http://schemas.microsoft.com/office/drawing/2010/main" val="0"/>
              </a:ext>
            </a:extLst>
          </a:blip>
          <a:srcRect/>
          <a:stretch>
            <a:fillRect t="-40000" b="-40000"/>
          </a:stretch>
        </a:blipFill>
        <a:ln>
          <a:noFill/>
        </a:ln>
        <a:effectLst/>
      </dsp:spPr>
      <dsp:style>
        <a:lnRef idx="0">
          <a:scrgbClr r="0" g="0" b="0"/>
        </a:lnRef>
        <a:fillRef idx="1">
          <a:scrgbClr r="0" g="0" b="0"/>
        </a:fillRef>
        <a:effectRef idx="0">
          <a:scrgbClr r="0" g="0" b="0"/>
        </a:effectRef>
        <a:fontRef idx="minor"/>
      </dsp:style>
    </dsp:sp>
    <dsp:sp modelId="{649CE762-E77C-495C-BE76-4CE77385BED8}">
      <dsp:nvSpPr>
        <dsp:cNvPr id="0" name=""/>
        <dsp:cNvSpPr/>
      </dsp:nvSpPr>
      <dsp:spPr>
        <a:xfrm>
          <a:off x="7073107" y="4495798"/>
          <a:ext cx="1557698" cy="3743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5000"/>
            </a:spcAft>
            <a:buNone/>
          </a:pPr>
          <a:r>
            <a:rPr lang="en-US" sz="1100" kern="1200" dirty="0"/>
            <a:t>Intermediate and API Storage warehouse </a:t>
          </a:r>
          <a:endParaRPr lang="en-IN" sz="1100" kern="1200" dirty="0"/>
        </a:p>
      </dsp:txBody>
      <dsp:txXfrm>
        <a:off x="7073107" y="4495798"/>
        <a:ext cx="1557698" cy="37434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3037841" cy="464821"/>
          </a:xfrm>
          <a:prstGeom prst="rect">
            <a:avLst/>
          </a:prstGeom>
        </p:spPr>
        <p:txBody>
          <a:bodyPr vert="horz" lIns="91781" tIns="45890" rIns="91781" bIns="45890" rtlCol="0"/>
          <a:lstStyle>
            <a:lvl1pPr algn="l">
              <a:defRPr sz="1200"/>
            </a:lvl1pPr>
          </a:lstStyle>
          <a:p>
            <a:endParaRPr lang="en-US" dirty="0"/>
          </a:p>
        </p:txBody>
      </p:sp>
      <p:sp>
        <p:nvSpPr>
          <p:cNvPr id="3" name="Date Placeholder 2"/>
          <p:cNvSpPr>
            <a:spLocks noGrp="1"/>
          </p:cNvSpPr>
          <p:nvPr>
            <p:ph type="dt" sz="quarter" idx="1"/>
          </p:nvPr>
        </p:nvSpPr>
        <p:spPr>
          <a:xfrm>
            <a:off x="3970946" y="4"/>
            <a:ext cx="3037841" cy="464821"/>
          </a:xfrm>
          <a:prstGeom prst="rect">
            <a:avLst/>
          </a:prstGeom>
        </p:spPr>
        <p:txBody>
          <a:bodyPr vert="horz" lIns="91781" tIns="45890" rIns="91781" bIns="45890" rtlCol="0"/>
          <a:lstStyle>
            <a:lvl1pPr algn="r">
              <a:defRPr sz="1200"/>
            </a:lvl1pPr>
          </a:lstStyle>
          <a:p>
            <a:r>
              <a:rPr lang="en-US" dirty="0"/>
              <a:t>2023</a:t>
            </a:r>
          </a:p>
        </p:txBody>
      </p:sp>
      <p:sp>
        <p:nvSpPr>
          <p:cNvPr id="4" name="Footer Placeholder 3"/>
          <p:cNvSpPr>
            <a:spLocks noGrp="1"/>
          </p:cNvSpPr>
          <p:nvPr>
            <p:ph type="ftr" sz="quarter" idx="2"/>
          </p:nvPr>
        </p:nvSpPr>
        <p:spPr>
          <a:xfrm>
            <a:off x="7" y="8829970"/>
            <a:ext cx="3037841" cy="464821"/>
          </a:xfrm>
          <a:prstGeom prst="rect">
            <a:avLst/>
          </a:prstGeom>
        </p:spPr>
        <p:txBody>
          <a:bodyPr vert="horz" lIns="91781" tIns="45890" rIns="91781" bIns="45890" rtlCol="0" anchor="b"/>
          <a:lstStyle>
            <a:lvl1pPr algn="l">
              <a:defRPr sz="1200"/>
            </a:lvl1pPr>
          </a:lstStyle>
          <a:p>
            <a:r>
              <a:rPr lang="en-US" dirty="0"/>
              <a:t>Inventys CONFIDENTIAL</a:t>
            </a:r>
          </a:p>
        </p:txBody>
      </p:sp>
      <p:sp>
        <p:nvSpPr>
          <p:cNvPr id="5" name="Slide Number Placeholder 4"/>
          <p:cNvSpPr>
            <a:spLocks noGrp="1"/>
          </p:cNvSpPr>
          <p:nvPr>
            <p:ph type="sldNum" sz="quarter" idx="3"/>
          </p:nvPr>
        </p:nvSpPr>
        <p:spPr>
          <a:xfrm>
            <a:off x="3970946" y="8829970"/>
            <a:ext cx="3037841" cy="464821"/>
          </a:xfrm>
          <a:prstGeom prst="rect">
            <a:avLst/>
          </a:prstGeom>
        </p:spPr>
        <p:txBody>
          <a:bodyPr vert="horz" lIns="91781" tIns="45890" rIns="91781" bIns="45890" rtlCol="0" anchor="b"/>
          <a:lstStyle>
            <a:lvl1pPr algn="r">
              <a:defRPr sz="1200"/>
            </a:lvl1pPr>
          </a:lstStyle>
          <a:p>
            <a:fld id="{D257C7BF-3753-4741-9B8A-C4DB0815D066}" type="slidenum">
              <a:rPr lang="en-US" smtClean="0"/>
              <a:pPr/>
              <a:t>‹#›</a:t>
            </a:fld>
            <a:endParaRPr lang="en-US" dirty="0"/>
          </a:p>
        </p:txBody>
      </p:sp>
    </p:spTree>
    <p:extLst>
      <p:ext uri="{BB962C8B-B14F-4D97-AF65-F5344CB8AC3E}">
        <p14:creationId xmlns:p14="http://schemas.microsoft.com/office/powerpoint/2010/main" val="17605080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3037841" cy="464821"/>
          </a:xfrm>
          <a:prstGeom prst="rect">
            <a:avLst/>
          </a:prstGeom>
        </p:spPr>
        <p:txBody>
          <a:bodyPr vert="horz" lIns="91781" tIns="45890" rIns="91781" bIns="45890" rtlCol="0"/>
          <a:lstStyle>
            <a:lvl1pPr algn="l">
              <a:defRPr sz="1200"/>
            </a:lvl1pPr>
          </a:lstStyle>
          <a:p>
            <a:endParaRPr lang="en-US" dirty="0"/>
          </a:p>
        </p:txBody>
      </p:sp>
      <p:sp>
        <p:nvSpPr>
          <p:cNvPr id="3" name="Date Placeholder 2"/>
          <p:cNvSpPr>
            <a:spLocks noGrp="1"/>
          </p:cNvSpPr>
          <p:nvPr>
            <p:ph type="dt" idx="1"/>
          </p:nvPr>
        </p:nvSpPr>
        <p:spPr>
          <a:xfrm>
            <a:off x="3970946" y="4"/>
            <a:ext cx="3037841" cy="464821"/>
          </a:xfrm>
          <a:prstGeom prst="rect">
            <a:avLst/>
          </a:prstGeom>
        </p:spPr>
        <p:txBody>
          <a:bodyPr vert="horz" lIns="91781" tIns="45890" rIns="91781" bIns="45890" rtlCol="0"/>
          <a:lstStyle>
            <a:lvl1pPr algn="r">
              <a:defRPr sz="1200"/>
            </a:lvl1pPr>
          </a:lstStyle>
          <a:p>
            <a:r>
              <a:rPr lang="en-US" dirty="0"/>
              <a:t>2023</a:t>
            </a:r>
          </a:p>
        </p:txBody>
      </p:sp>
      <p:sp>
        <p:nvSpPr>
          <p:cNvPr id="4" name="Slide Image Placeholder 3"/>
          <p:cNvSpPr>
            <a:spLocks noGrp="1" noRot="1" noChangeAspect="1"/>
          </p:cNvSpPr>
          <p:nvPr>
            <p:ph type="sldImg" idx="2"/>
          </p:nvPr>
        </p:nvSpPr>
        <p:spPr>
          <a:xfrm>
            <a:off x="984250" y="695325"/>
            <a:ext cx="5041900" cy="3490913"/>
          </a:xfrm>
          <a:prstGeom prst="rect">
            <a:avLst/>
          </a:prstGeom>
          <a:noFill/>
          <a:ln w="12700">
            <a:solidFill>
              <a:prstClr val="black"/>
            </a:solidFill>
          </a:ln>
        </p:spPr>
        <p:txBody>
          <a:bodyPr vert="horz" lIns="91781" tIns="45890" rIns="91781" bIns="45890" rtlCol="0" anchor="ctr"/>
          <a:lstStyle/>
          <a:p>
            <a:endParaRPr lang="en-US" dirty="0"/>
          </a:p>
        </p:txBody>
      </p:sp>
      <p:sp>
        <p:nvSpPr>
          <p:cNvPr id="5" name="Notes Placeholder 4"/>
          <p:cNvSpPr>
            <a:spLocks noGrp="1"/>
          </p:cNvSpPr>
          <p:nvPr>
            <p:ph type="body" sz="quarter" idx="3"/>
          </p:nvPr>
        </p:nvSpPr>
        <p:spPr>
          <a:xfrm>
            <a:off x="701047" y="4415798"/>
            <a:ext cx="5608319" cy="4183380"/>
          </a:xfrm>
          <a:prstGeom prst="rect">
            <a:avLst/>
          </a:prstGeom>
        </p:spPr>
        <p:txBody>
          <a:bodyPr vert="horz" lIns="91781" tIns="45890" rIns="91781" bIns="4589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7" y="8829970"/>
            <a:ext cx="3037841" cy="464821"/>
          </a:xfrm>
          <a:prstGeom prst="rect">
            <a:avLst/>
          </a:prstGeom>
        </p:spPr>
        <p:txBody>
          <a:bodyPr vert="horz" lIns="91781" tIns="45890" rIns="91781" bIns="4589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6" y="8829970"/>
            <a:ext cx="3037841" cy="464821"/>
          </a:xfrm>
          <a:prstGeom prst="rect">
            <a:avLst/>
          </a:prstGeom>
        </p:spPr>
        <p:txBody>
          <a:bodyPr vert="horz" lIns="91781" tIns="45890" rIns="91781" bIns="45890" rtlCol="0" anchor="b"/>
          <a:lstStyle>
            <a:lvl1pPr algn="r">
              <a:defRPr sz="1200"/>
            </a:lvl1pPr>
          </a:lstStyle>
          <a:p>
            <a:fld id="{AB06A5E2-75F5-4A28-A181-80057A23CAF5}" type="slidenum">
              <a:rPr lang="en-US" smtClean="0"/>
              <a:pPr/>
              <a:t>‹#›</a:t>
            </a:fld>
            <a:endParaRPr lang="en-US" dirty="0"/>
          </a:p>
        </p:txBody>
      </p:sp>
    </p:spTree>
    <p:extLst>
      <p:ext uri="{BB962C8B-B14F-4D97-AF65-F5344CB8AC3E}">
        <p14:creationId xmlns:p14="http://schemas.microsoft.com/office/powerpoint/2010/main" val="25232908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85277" y="3885642"/>
            <a:ext cx="6935451" cy="1753721"/>
          </a:xfrm>
        </p:spPr>
        <p:txBody>
          <a:bodyPr/>
          <a:lstStyle>
            <a:lvl1pPr marL="0" indent="0" algn="r">
              <a:buNone/>
              <a:defRPr>
                <a:solidFill>
                  <a:schemeClr val="bg1">
                    <a:lumMod val="65000"/>
                  </a:schemeClr>
                </a:solidFill>
              </a:defRPr>
            </a:lvl1pPr>
            <a:lvl2pPr marL="429814" indent="0" algn="ctr">
              <a:buNone/>
              <a:defRPr/>
            </a:lvl2pPr>
            <a:lvl3pPr marL="859627" indent="0" algn="ctr">
              <a:buNone/>
              <a:defRPr/>
            </a:lvl3pPr>
            <a:lvl4pPr marL="1289441" indent="0" algn="ctr">
              <a:buNone/>
              <a:defRPr/>
            </a:lvl4pPr>
            <a:lvl5pPr marL="1719255" indent="0" algn="ctr">
              <a:buNone/>
              <a:defRPr/>
            </a:lvl5pPr>
            <a:lvl6pPr marL="2149069" indent="0" algn="ctr">
              <a:buNone/>
              <a:defRPr/>
            </a:lvl6pPr>
            <a:lvl7pPr marL="2578882" indent="0" algn="ctr">
              <a:buNone/>
              <a:defRPr/>
            </a:lvl7pPr>
            <a:lvl8pPr marL="3008696" indent="0" algn="ctr">
              <a:buNone/>
              <a:defRPr/>
            </a:lvl8pPr>
            <a:lvl9pPr marL="3438510" indent="0" algn="ctr">
              <a:buNone/>
              <a:defRPr/>
            </a:lvl9pPr>
          </a:lstStyle>
          <a:p>
            <a:r>
              <a:rPr lang="en-US"/>
              <a:t>Click to edit Master subtitle style</a:t>
            </a:r>
            <a:endParaRPr lang="en-US" dirty="0"/>
          </a:p>
        </p:txBody>
      </p:sp>
      <p:sp>
        <p:nvSpPr>
          <p:cNvPr id="10" name="Date Placeholder 9">
            <a:extLst>
              <a:ext uri="{FF2B5EF4-FFF2-40B4-BE49-F238E27FC236}">
                <a16:creationId xmlns:a16="http://schemas.microsoft.com/office/drawing/2014/main" id="{D656B6CD-88B8-4E79-A31C-F5CE045EFF81}"/>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11" name="Footer Placeholder 10">
            <a:extLst>
              <a:ext uri="{FF2B5EF4-FFF2-40B4-BE49-F238E27FC236}">
                <a16:creationId xmlns:a16="http://schemas.microsoft.com/office/drawing/2014/main" id="{3B315AC7-3445-4D84-9041-38E4E2DD8FB6}"/>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2" name="Slide Number Placeholder 11">
            <a:extLst>
              <a:ext uri="{FF2B5EF4-FFF2-40B4-BE49-F238E27FC236}">
                <a16:creationId xmlns:a16="http://schemas.microsoft.com/office/drawing/2014/main" id="{DFD65926-CBED-427B-A299-27C03E15C466}"/>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15" name="Title 1">
            <a:extLst>
              <a:ext uri="{FF2B5EF4-FFF2-40B4-BE49-F238E27FC236}">
                <a16:creationId xmlns:a16="http://schemas.microsoft.com/office/drawing/2014/main" id="{E593B4FF-5984-467B-A306-8AC97130BB81}"/>
              </a:ext>
            </a:extLst>
          </p:cNvPr>
          <p:cNvSpPr>
            <a:spLocks noGrp="1"/>
          </p:cNvSpPr>
          <p:nvPr>
            <p:ph type="ctrTitle"/>
          </p:nvPr>
        </p:nvSpPr>
        <p:spPr>
          <a:xfrm>
            <a:off x="742640" y="2130523"/>
            <a:ext cx="8420725" cy="1469371"/>
          </a:xfrm>
        </p:spPr>
        <p:txBody>
          <a:bodyPr/>
          <a:lstStyle>
            <a:lvl1pPr algn="ctr">
              <a:defRPr sz="3600" cap="all" baseline="0"/>
            </a:lvl1pPr>
          </a:lstStyle>
          <a:p>
            <a:r>
              <a:rPr lang="en-US"/>
              <a:t>Click to edit Master title style</a:t>
            </a:r>
            <a:endParaRPr lang="en-US" dirty="0"/>
          </a:p>
        </p:txBody>
      </p:sp>
    </p:spTree>
    <p:extLst>
      <p:ext uri="{BB962C8B-B14F-4D97-AF65-F5344CB8AC3E}">
        <p14:creationId xmlns:p14="http://schemas.microsoft.com/office/powerpoint/2010/main" val="136888261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47024" y="838200"/>
            <a:ext cx="4541405" cy="541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p:cNvSpPr>
            <a:spLocks noGrp="1"/>
          </p:cNvSpPr>
          <p:nvPr>
            <p:ph type="body" sz="half" idx="13"/>
          </p:nvPr>
        </p:nvSpPr>
        <p:spPr>
          <a:xfrm>
            <a:off x="4907395" y="838200"/>
            <a:ext cx="4541405" cy="2651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p:cNvSpPr>
            <a:spLocks noGrp="1"/>
          </p:cNvSpPr>
          <p:nvPr>
            <p:ph type="body" sz="half" idx="14"/>
          </p:nvPr>
        </p:nvSpPr>
        <p:spPr>
          <a:xfrm>
            <a:off x="4907395" y="3581400"/>
            <a:ext cx="4541405" cy="2651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4134393-6E92-42CC-945A-3ADD5AC1F0C7}"/>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8" name="Footer Placeholder 7">
            <a:extLst>
              <a:ext uri="{FF2B5EF4-FFF2-40B4-BE49-F238E27FC236}">
                <a16:creationId xmlns:a16="http://schemas.microsoft.com/office/drawing/2014/main" id="{D4F75CD5-51A0-4CA9-A5B9-883607BE7F98}"/>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1" name="Slide Number Placeholder 10">
            <a:extLst>
              <a:ext uri="{FF2B5EF4-FFF2-40B4-BE49-F238E27FC236}">
                <a16:creationId xmlns:a16="http://schemas.microsoft.com/office/drawing/2014/main" id="{BCC5D2C3-1389-41A9-BE3C-73976A408497}"/>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12" name="Title 11">
            <a:extLst>
              <a:ext uri="{FF2B5EF4-FFF2-40B4-BE49-F238E27FC236}">
                <a16:creationId xmlns:a16="http://schemas.microsoft.com/office/drawing/2014/main" id="{1F702305-B0E8-41F9-80A5-10FAE63ACC6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492167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Text, and 2 Content">
    <p:spTree>
      <p:nvGrpSpPr>
        <p:cNvPr id="1" name=""/>
        <p:cNvGrpSpPr/>
        <p:nvPr/>
      </p:nvGrpSpPr>
      <p:grpSpPr>
        <a:xfrm>
          <a:off x="0" y="0"/>
          <a:ext cx="0" cy="0"/>
          <a:chOff x="0" y="0"/>
          <a:chExt cx="0" cy="0"/>
        </a:xfrm>
      </p:grpSpPr>
      <p:sp>
        <p:nvSpPr>
          <p:cNvPr id="9" name="Text Placeholder 2"/>
          <p:cNvSpPr>
            <a:spLocks noGrp="1"/>
          </p:cNvSpPr>
          <p:nvPr>
            <p:ph type="body" sz="half" idx="13"/>
          </p:nvPr>
        </p:nvSpPr>
        <p:spPr>
          <a:xfrm>
            <a:off x="247027" y="838200"/>
            <a:ext cx="9201773" cy="2651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p:cNvSpPr>
            <a:spLocks noGrp="1"/>
          </p:cNvSpPr>
          <p:nvPr>
            <p:ph type="body" sz="half" idx="14"/>
          </p:nvPr>
        </p:nvSpPr>
        <p:spPr>
          <a:xfrm>
            <a:off x="247027" y="3581400"/>
            <a:ext cx="9201773" cy="2651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4134393-6E92-42CC-945A-3ADD5AC1F0C7}"/>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8" name="Footer Placeholder 7">
            <a:extLst>
              <a:ext uri="{FF2B5EF4-FFF2-40B4-BE49-F238E27FC236}">
                <a16:creationId xmlns:a16="http://schemas.microsoft.com/office/drawing/2014/main" id="{D4F75CD5-51A0-4CA9-A5B9-883607BE7F98}"/>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1" name="Slide Number Placeholder 10">
            <a:extLst>
              <a:ext uri="{FF2B5EF4-FFF2-40B4-BE49-F238E27FC236}">
                <a16:creationId xmlns:a16="http://schemas.microsoft.com/office/drawing/2014/main" id="{BCC5D2C3-1389-41A9-BE3C-73976A408497}"/>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4" name="Title 3">
            <a:extLst>
              <a:ext uri="{FF2B5EF4-FFF2-40B4-BE49-F238E27FC236}">
                <a16:creationId xmlns:a16="http://schemas.microsoft.com/office/drawing/2014/main" id="{BBBFCE3F-DD72-4CEB-842A-C568E4C412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115820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5959A981-F648-4A67-8B8A-1BE061025045}"/>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7" name="Footer Placeholder 6">
            <a:extLst>
              <a:ext uri="{FF2B5EF4-FFF2-40B4-BE49-F238E27FC236}">
                <a16:creationId xmlns:a16="http://schemas.microsoft.com/office/drawing/2014/main" id="{641F96A6-D16C-4B37-A374-1DEFF48AC070}"/>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8" name="Slide Number Placeholder 7">
            <a:extLst>
              <a:ext uri="{FF2B5EF4-FFF2-40B4-BE49-F238E27FC236}">
                <a16:creationId xmlns:a16="http://schemas.microsoft.com/office/drawing/2014/main" id="{3B6AA7D9-76E2-4337-8280-79A4BC1F33CB}"/>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Tree>
    <p:extLst>
      <p:ext uri="{BB962C8B-B14F-4D97-AF65-F5344CB8AC3E}">
        <p14:creationId xmlns:p14="http://schemas.microsoft.com/office/powerpoint/2010/main" val="37175459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3291" y="4406713"/>
            <a:ext cx="8419161" cy="1362916"/>
          </a:xfrm>
        </p:spPr>
        <p:txBody>
          <a:bodyPr anchor="t"/>
          <a:lstStyle>
            <a:lvl1pPr algn="l">
              <a:defRPr sz="3200" b="0" cap="small" baseline="0"/>
            </a:lvl1pPr>
          </a:lstStyle>
          <a:p>
            <a:r>
              <a:rPr lang="en-US"/>
              <a:t>Click to edit Master title style</a:t>
            </a:r>
            <a:endParaRPr lang="en-US" dirty="0"/>
          </a:p>
        </p:txBody>
      </p:sp>
      <p:sp>
        <p:nvSpPr>
          <p:cNvPr id="3" name="Text Placeholder 2"/>
          <p:cNvSpPr>
            <a:spLocks noGrp="1"/>
          </p:cNvSpPr>
          <p:nvPr>
            <p:ph type="body" idx="1"/>
          </p:nvPr>
        </p:nvSpPr>
        <p:spPr>
          <a:xfrm>
            <a:off x="4495800" y="914401"/>
            <a:ext cx="4706650" cy="2882713"/>
          </a:xfrm>
        </p:spPr>
        <p:txBody>
          <a:bodyPr anchor="b"/>
          <a:lstStyle>
            <a:lvl1pPr marL="0" indent="0" algn="r">
              <a:buNone/>
              <a:defRPr sz="1900">
                <a:solidFill>
                  <a:schemeClr val="bg1">
                    <a:lumMod val="65000"/>
                  </a:schemeClr>
                </a:solidFill>
              </a:defRPr>
            </a:lvl1pPr>
            <a:lvl2pPr marL="429814" indent="0">
              <a:buNone/>
              <a:defRPr sz="1700"/>
            </a:lvl2pPr>
            <a:lvl3pPr marL="859627" indent="0">
              <a:buNone/>
              <a:defRPr sz="1500"/>
            </a:lvl3pPr>
            <a:lvl4pPr marL="1289441" indent="0">
              <a:buNone/>
              <a:defRPr sz="1300"/>
            </a:lvl4pPr>
            <a:lvl5pPr marL="1719255" indent="0">
              <a:buNone/>
              <a:defRPr sz="1300"/>
            </a:lvl5pPr>
            <a:lvl6pPr marL="2149069" indent="0">
              <a:buNone/>
              <a:defRPr sz="1300"/>
            </a:lvl6pPr>
            <a:lvl7pPr marL="2578882" indent="0">
              <a:buNone/>
              <a:defRPr sz="1300"/>
            </a:lvl7pPr>
            <a:lvl8pPr marL="3008696" indent="0">
              <a:buNone/>
              <a:defRPr sz="1300"/>
            </a:lvl8pPr>
            <a:lvl9pPr marL="3438510" indent="0">
              <a:buNone/>
              <a:defRPr sz="1300"/>
            </a:lvl9pPr>
          </a:lstStyle>
          <a:p>
            <a:pPr lvl="0"/>
            <a:r>
              <a:rPr lang="en-US"/>
              <a:t>Edit Master text styles</a:t>
            </a:r>
          </a:p>
        </p:txBody>
      </p:sp>
      <p:sp>
        <p:nvSpPr>
          <p:cNvPr id="6" name="Date Placeholder 5">
            <a:extLst>
              <a:ext uri="{FF2B5EF4-FFF2-40B4-BE49-F238E27FC236}">
                <a16:creationId xmlns:a16="http://schemas.microsoft.com/office/drawing/2014/main" id="{6EAFBC31-4990-47E9-8EF0-FE6B1394E9DC}"/>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7" name="Footer Placeholder 6">
            <a:extLst>
              <a:ext uri="{FF2B5EF4-FFF2-40B4-BE49-F238E27FC236}">
                <a16:creationId xmlns:a16="http://schemas.microsoft.com/office/drawing/2014/main" id="{9A1B6A8D-DA95-4B56-8FBF-E45F7D4A6874}"/>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8" name="Slide Number Placeholder 7">
            <a:extLst>
              <a:ext uri="{FF2B5EF4-FFF2-40B4-BE49-F238E27FC236}">
                <a16:creationId xmlns:a16="http://schemas.microsoft.com/office/drawing/2014/main" id="{F548B31B-8CB6-4112-8814-C5633DD79B4A}"/>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Tree>
    <p:extLst>
      <p:ext uri="{BB962C8B-B14F-4D97-AF65-F5344CB8AC3E}">
        <p14:creationId xmlns:p14="http://schemas.microsoft.com/office/powerpoint/2010/main" val="83074068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7A4C9715-6645-4836-BB34-81F5A94ABF71}"/>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6" name="Footer Placeholder 5">
            <a:extLst>
              <a:ext uri="{FF2B5EF4-FFF2-40B4-BE49-F238E27FC236}">
                <a16:creationId xmlns:a16="http://schemas.microsoft.com/office/drawing/2014/main" id="{6D42EC3B-95F5-4B94-BDC7-CB3FEDE340FE}"/>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7" name="Slide Number Placeholder 6">
            <a:extLst>
              <a:ext uri="{FF2B5EF4-FFF2-40B4-BE49-F238E27FC236}">
                <a16:creationId xmlns:a16="http://schemas.microsoft.com/office/drawing/2014/main" id="{99877D92-F8E3-478F-9BF1-3A1C48F86377}"/>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Tree>
    <p:extLst>
      <p:ext uri="{BB962C8B-B14F-4D97-AF65-F5344CB8AC3E}">
        <p14:creationId xmlns:p14="http://schemas.microsoft.com/office/powerpoint/2010/main" val="310329120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Text, and 2 Content">
    <p:spTree>
      <p:nvGrpSpPr>
        <p:cNvPr id="1" name=""/>
        <p:cNvGrpSpPr/>
        <p:nvPr/>
      </p:nvGrpSpPr>
      <p:grpSpPr>
        <a:xfrm>
          <a:off x="0" y="0"/>
          <a:ext cx="0" cy="0"/>
          <a:chOff x="0" y="0"/>
          <a:chExt cx="0" cy="0"/>
        </a:xfrm>
      </p:grpSpPr>
      <p:sp>
        <p:nvSpPr>
          <p:cNvPr id="10" name="Text Placeholder 2"/>
          <p:cNvSpPr>
            <a:spLocks noGrp="1"/>
          </p:cNvSpPr>
          <p:nvPr>
            <p:ph type="body" sz="half" idx="14"/>
          </p:nvPr>
        </p:nvSpPr>
        <p:spPr>
          <a:xfrm>
            <a:off x="259195" y="2667000"/>
            <a:ext cx="4008005" cy="3581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4134393-6E92-42CC-945A-3ADD5AC1F0C7}"/>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8" name="Footer Placeholder 7">
            <a:extLst>
              <a:ext uri="{FF2B5EF4-FFF2-40B4-BE49-F238E27FC236}">
                <a16:creationId xmlns:a16="http://schemas.microsoft.com/office/drawing/2014/main" id="{D4F75CD5-51A0-4CA9-A5B9-883607BE7F98}"/>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1" name="Slide Number Placeholder 10">
            <a:extLst>
              <a:ext uri="{FF2B5EF4-FFF2-40B4-BE49-F238E27FC236}">
                <a16:creationId xmlns:a16="http://schemas.microsoft.com/office/drawing/2014/main" id="{BCC5D2C3-1389-41A9-BE3C-73976A408497}"/>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12" name="Text Placeholder 2">
            <a:extLst>
              <a:ext uri="{FF2B5EF4-FFF2-40B4-BE49-F238E27FC236}">
                <a16:creationId xmlns:a16="http://schemas.microsoft.com/office/drawing/2014/main" id="{697F02B1-0387-448E-AEA5-E5D532E9AFE7}"/>
              </a:ext>
            </a:extLst>
          </p:cNvPr>
          <p:cNvSpPr>
            <a:spLocks noGrp="1"/>
          </p:cNvSpPr>
          <p:nvPr>
            <p:ph type="body" sz="half" idx="1"/>
          </p:nvPr>
        </p:nvSpPr>
        <p:spPr>
          <a:xfrm>
            <a:off x="4343400" y="838200"/>
            <a:ext cx="5105400" cy="541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C5A58E00-CCA8-428E-BF64-F17BAD59AE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562794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Text, and 2 Content">
    <p:spTree>
      <p:nvGrpSpPr>
        <p:cNvPr id="1" name=""/>
        <p:cNvGrpSpPr/>
        <p:nvPr/>
      </p:nvGrpSpPr>
      <p:grpSpPr>
        <a:xfrm>
          <a:off x="0" y="0"/>
          <a:ext cx="0" cy="0"/>
          <a:chOff x="0" y="0"/>
          <a:chExt cx="0" cy="0"/>
        </a:xfrm>
      </p:grpSpPr>
      <p:sp>
        <p:nvSpPr>
          <p:cNvPr id="10" name="Text Placeholder 2"/>
          <p:cNvSpPr>
            <a:spLocks noGrp="1"/>
          </p:cNvSpPr>
          <p:nvPr>
            <p:ph type="body" sz="half" idx="14"/>
          </p:nvPr>
        </p:nvSpPr>
        <p:spPr>
          <a:xfrm>
            <a:off x="247027" y="4343400"/>
            <a:ext cx="9201773" cy="190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4134393-6E92-42CC-945A-3ADD5AC1F0C7}"/>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8" name="Footer Placeholder 7">
            <a:extLst>
              <a:ext uri="{FF2B5EF4-FFF2-40B4-BE49-F238E27FC236}">
                <a16:creationId xmlns:a16="http://schemas.microsoft.com/office/drawing/2014/main" id="{D4F75CD5-51A0-4CA9-A5B9-883607BE7F98}"/>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1" name="Slide Number Placeholder 10">
            <a:extLst>
              <a:ext uri="{FF2B5EF4-FFF2-40B4-BE49-F238E27FC236}">
                <a16:creationId xmlns:a16="http://schemas.microsoft.com/office/drawing/2014/main" id="{BCC5D2C3-1389-41A9-BE3C-73976A408497}"/>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3" name="Title 2">
            <a:extLst>
              <a:ext uri="{FF2B5EF4-FFF2-40B4-BE49-F238E27FC236}">
                <a16:creationId xmlns:a16="http://schemas.microsoft.com/office/drawing/2014/main" id="{0679BC5D-A914-41F4-B2D2-E690CEEDE5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76347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Text, and 2 Content">
    <p:spTree>
      <p:nvGrpSpPr>
        <p:cNvPr id="1" name=""/>
        <p:cNvGrpSpPr/>
        <p:nvPr/>
      </p:nvGrpSpPr>
      <p:grpSpPr>
        <a:xfrm>
          <a:off x="0" y="0"/>
          <a:ext cx="0" cy="0"/>
          <a:chOff x="0" y="0"/>
          <a:chExt cx="0" cy="0"/>
        </a:xfrm>
      </p:grpSpPr>
      <p:sp>
        <p:nvSpPr>
          <p:cNvPr id="10" name="Text Placeholder 2"/>
          <p:cNvSpPr>
            <a:spLocks noGrp="1"/>
          </p:cNvSpPr>
          <p:nvPr>
            <p:ph type="body" sz="half" idx="14"/>
          </p:nvPr>
        </p:nvSpPr>
        <p:spPr>
          <a:xfrm>
            <a:off x="247027" y="914400"/>
            <a:ext cx="9201773" cy="2895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4134393-6E92-42CC-945A-3ADD5AC1F0C7}"/>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8" name="Footer Placeholder 7">
            <a:extLst>
              <a:ext uri="{FF2B5EF4-FFF2-40B4-BE49-F238E27FC236}">
                <a16:creationId xmlns:a16="http://schemas.microsoft.com/office/drawing/2014/main" id="{D4F75CD5-51A0-4CA9-A5B9-883607BE7F98}"/>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11" name="Slide Number Placeholder 10">
            <a:extLst>
              <a:ext uri="{FF2B5EF4-FFF2-40B4-BE49-F238E27FC236}">
                <a16:creationId xmlns:a16="http://schemas.microsoft.com/office/drawing/2014/main" id="{BCC5D2C3-1389-41A9-BE3C-73976A408497}"/>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3" name="Title 2">
            <a:extLst>
              <a:ext uri="{FF2B5EF4-FFF2-40B4-BE49-F238E27FC236}">
                <a16:creationId xmlns:a16="http://schemas.microsoft.com/office/drawing/2014/main" id="{E5BE4F25-A141-4747-993C-EE743418AF8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67126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F322D4F-284A-4AA0-B063-6D66027F3239}"/>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4B42A53B-9F0E-46D1-80E9-27CB3F77B025}"/>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6C8858A-A7B8-4827-AFC6-439705CBF6A9}"/>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Tree>
    <p:extLst>
      <p:ext uri="{BB962C8B-B14F-4D97-AF65-F5344CB8AC3E}">
        <p14:creationId xmlns:p14="http://schemas.microsoft.com/office/powerpoint/2010/main" val="129604122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Content Placeholder 2"/>
          <p:cNvSpPr>
            <a:spLocks noGrp="1"/>
          </p:cNvSpPr>
          <p:nvPr>
            <p:ph idx="1"/>
          </p:nvPr>
        </p:nvSpPr>
        <p:spPr>
          <a:xfrm>
            <a:off x="304800" y="838200"/>
            <a:ext cx="4495800" cy="541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3"/>
          </p:nvPr>
        </p:nvSpPr>
        <p:spPr>
          <a:xfrm>
            <a:off x="4876800" y="838200"/>
            <a:ext cx="4495800" cy="541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a:extLst>
              <a:ext uri="{FF2B5EF4-FFF2-40B4-BE49-F238E27FC236}">
                <a16:creationId xmlns:a16="http://schemas.microsoft.com/office/drawing/2014/main" id="{D81B10D0-A5FE-4335-9E4B-5BF4E489AB51}"/>
              </a:ext>
            </a:extLst>
          </p:cNvPr>
          <p:cNvSpPr>
            <a:spLocks noGrp="1"/>
          </p:cNvSpPr>
          <p:nvPr>
            <p:ph type="dt" sz="half" idx="14"/>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7" name="Footer Placeholder 6">
            <a:extLst>
              <a:ext uri="{FF2B5EF4-FFF2-40B4-BE49-F238E27FC236}">
                <a16:creationId xmlns:a16="http://schemas.microsoft.com/office/drawing/2014/main" id="{18D2AF09-5927-4B9F-8380-95C39A6011CD}"/>
              </a:ext>
            </a:extLst>
          </p:cNvPr>
          <p:cNvSpPr>
            <a:spLocks noGrp="1"/>
          </p:cNvSpPr>
          <p:nvPr>
            <p:ph type="ftr" sz="quarter" idx="15"/>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8" name="Slide Number Placeholder 7">
            <a:extLst>
              <a:ext uri="{FF2B5EF4-FFF2-40B4-BE49-F238E27FC236}">
                <a16:creationId xmlns:a16="http://schemas.microsoft.com/office/drawing/2014/main" id="{2C23D427-E59B-4522-9750-EBFA11F4D62F}"/>
              </a:ext>
            </a:extLst>
          </p:cNvPr>
          <p:cNvSpPr>
            <a:spLocks noGrp="1"/>
          </p:cNvSpPr>
          <p:nvPr>
            <p:ph type="sldNum" sz="quarter" idx="16"/>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9" name="Title 8">
            <a:extLst>
              <a:ext uri="{FF2B5EF4-FFF2-40B4-BE49-F238E27FC236}">
                <a16:creationId xmlns:a16="http://schemas.microsoft.com/office/drawing/2014/main" id="{A7B5FF01-FFFA-41D3-9D4D-9D11847F1D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724526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1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image" Target="../media/image7.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t="-4000" b="-4000"/>
          </a:stretch>
        </a:blipFill>
        <a:effectLst/>
      </p:bgPr>
    </p:bg>
    <p:spTree>
      <p:nvGrpSpPr>
        <p:cNvPr id="1" name=""/>
        <p:cNvGrpSpPr/>
        <p:nvPr/>
      </p:nvGrpSpPr>
      <p:grpSpPr>
        <a:xfrm>
          <a:off x="0" y="0"/>
          <a:ext cx="0" cy="0"/>
          <a:chOff x="0" y="0"/>
          <a:chExt cx="0" cy="0"/>
        </a:xfrm>
      </p:grpSpPr>
      <p:grpSp>
        <p:nvGrpSpPr>
          <p:cNvPr id="2051" name="Group 3"/>
          <p:cNvGrpSpPr>
            <a:grpSpLocks/>
          </p:cNvGrpSpPr>
          <p:nvPr/>
        </p:nvGrpSpPr>
        <p:grpSpPr bwMode="auto">
          <a:xfrm>
            <a:off x="0" y="4"/>
            <a:ext cx="9907588" cy="79375"/>
            <a:chOff x="-1" y="-2"/>
            <a:chExt cx="5761" cy="97"/>
          </a:xfrm>
        </p:grpSpPr>
        <p:sp>
          <p:nvSpPr>
            <p:cNvPr id="6148" name="Rectangle 4"/>
            <p:cNvSpPr>
              <a:spLocks noChangeArrowheads="1"/>
            </p:cNvSpPr>
            <p:nvPr/>
          </p:nvSpPr>
          <p:spPr bwMode="auto">
            <a:xfrm rot="5400000">
              <a:off x="1232" y="-1233"/>
              <a:ext cx="93" cy="2560"/>
            </a:xfrm>
            <a:prstGeom prst="rect">
              <a:avLst/>
            </a:prstGeom>
            <a:solidFill>
              <a:srgbClr val="CBF088"/>
            </a:solidFill>
            <a:ln w="9525">
              <a:noFill/>
              <a:miter lim="800000"/>
              <a:headEnd/>
              <a:tailEnd/>
            </a:ln>
            <a:effectLst/>
          </p:spPr>
          <p:txBody>
            <a:bodyPr wrap="none" anchor="ctr"/>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49" name="Rectangle 5"/>
            <p:cNvSpPr>
              <a:spLocks noChangeArrowheads="1"/>
            </p:cNvSpPr>
            <p:nvPr/>
          </p:nvSpPr>
          <p:spPr bwMode="auto">
            <a:xfrm rot="5400000">
              <a:off x="2274" y="-1233"/>
              <a:ext cx="93" cy="2560"/>
            </a:xfrm>
            <a:prstGeom prst="rect">
              <a:avLst/>
            </a:prstGeom>
            <a:solidFill>
              <a:srgbClr val="F8F8B5"/>
            </a:solidFill>
            <a:ln w="9525">
              <a:noFill/>
              <a:miter lim="800000"/>
              <a:headEnd/>
              <a:tailEnd/>
            </a:ln>
            <a:effectLst/>
          </p:spPr>
          <p:txBody>
            <a:bodyPr wrap="none" anchor="ctr"/>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50" name="Rectangle 6"/>
            <p:cNvSpPr>
              <a:spLocks noChangeArrowheads="1"/>
            </p:cNvSpPr>
            <p:nvPr/>
          </p:nvSpPr>
          <p:spPr bwMode="auto">
            <a:xfrm rot="5400000">
              <a:off x="3234" y="-1233"/>
              <a:ext cx="93" cy="2560"/>
            </a:xfrm>
            <a:prstGeom prst="rect">
              <a:avLst/>
            </a:prstGeom>
            <a:solidFill>
              <a:srgbClr val="E0F6B7"/>
            </a:solidFill>
            <a:ln w="9525">
              <a:noFill/>
              <a:miter lim="800000"/>
              <a:headEnd/>
              <a:tailEnd/>
            </a:ln>
            <a:effectLst/>
          </p:spPr>
          <p:txBody>
            <a:bodyPr wrap="none" anchor="ctr"/>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51" name="Rectangle 7"/>
            <p:cNvSpPr>
              <a:spLocks noChangeArrowheads="1"/>
            </p:cNvSpPr>
            <p:nvPr/>
          </p:nvSpPr>
          <p:spPr bwMode="auto">
            <a:xfrm rot="5400000">
              <a:off x="4242" y="-1234"/>
              <a:ext cx="95" cy="2560"/>
            </a:xfrm>
            <a:prstGeom prst="rect">
              <a:avLst/>
            </a:prstGeom>
            <a:solidFill>
              <a:srgbClr val="FAFACA"/>
            </a:solidFill>
            <a:ln w="9525">
              <a:noFill/>
              <a:miter lim="800000"/>
              <a:headEnd/>
              <a:tailEnd/>
            </a:ln>
            <a:effectLst/>
          </p:spPr>
          <p:txBody>
            <a:bodyPr wrap="none" anchor="ctr"/>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52" name="Rectangle 8"/>
            <p:cNvSpPr>
              <a:spLocks noChangeArrowheads="1"/>
            </p:cNvSpPr>
            <p:nvPr/>
          </p:nvSpPr>
          <p:spPr bwMode="auto">
            <a:xfrm rot="5400000">
              <a:off x="4826" y="-842"/>
              <a:ext cx="91" cy="1776"/>
            </a:xfrm>
            <a:prstGeom prst="rect">
              <a:avLst/>
            </a:prstGeom>
            <a:gradFill rotWithShape="0">
              <a:gsLst>
                <a:gs pos="0">
                  <a:srgbClr val="F4FCE7"/>
                </a:gs>
                <a:gs pos="100000">
                  <a:srgbClr val="FFFFFF"/>
                </a:gs>
              </a:gsLst>
              <a:lin ang="0" scaled="1"/>
            </a:gradFill>
            <a:ln w="9525">
              <a:noFill/>
              <a:miter lim="800000"/>
              <a:headEnd/>
              <a:tailEnd/>
            </a:ln>
            <a:effectLst/>
          </p:spPr>
          <p:txBody>
            <a:bodyPr wrap="none" anchor="ctr"/>
            <a:lstStyle/>
            <a:p>
              <a:pPr fontAlgn="base">
                <a:spcBef>
                  <a:spcPct val="0"/>
                </a:spcBef>
                <a:spcAft>
                  <a:spcPct val="0"/>
                </a:spcAft>
                <a:defRPr/>
              </a:pPr>
              <a:endParaRPr lang="en-US" sz="2500" dirty="0">
                <a:solidFill>
                  <a:prstClr val="black"/>
                </a:solidFill>
                <a:latin typeface="Times New Roman" pitchFamily="18" charset="0"/>
              </a:endParaRPr>
            </a:p>
          </p:txBody>
        </p:sp>
      </p:grpSp>
      <p:sp>
        <p:nvSpPr>
          <p:cNvPr id="6153" name="Line 9"/>
          <p:cNvSpPr>
            <a:spLocks noChangeShapeType="1"/>
          </p:cNvSpPr>
          <p:nvPr/>
        </p:nvSpPr>
        <p:spPr bwMode="auto">
          <a:xfrm>
            <a:off x="0" y="6248400"/>
            <a:ext cx="2311400" cy="0"/>
          </a:xfrm>
          <a:prstGeom prst="line">
            <a:avLst/>
          </a:prstGeom>
          <a:noFill/>
          <a:ln w="38100">
            <a:solidFill>
              <a:srgbClr val="9CCE31"/>
            </a:solidFill>
            <a:round/>
            <a:headEnd/>
            <a:tailEnd/>
          </a:ln>
          <a:effectLst/>
        </p:spPr>
        <p:txBody>
          <a:bodyPr lIns="85963" tIns="42981" rIns="85963" bIns="42981"/>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54" name="Rectangle 10"/>
          <p:cNvSpPr>
            <a:spLocks noGrp="1" noChangeArrowheads="1"/>
          </p:cNvSpPr>
          <p:nvPr>
            <p:ph type="title"/>
          </p:nvPr>
        </p:nvSpPr>
        <p:spPr bwMode="auto">
          <a:xfrm>
            <a:off x="247650" y="152400"/>
            <a:ext cx="9410700" cy="685800"/>
          </a:xfrm>
          <a:prstGeom prst="rect">
            <a:avLst/>
          </a:prstGeom>
          <a:noFill/>
          <a:ln w="9525">
            <a:noFill/>
            <a:miter lim="800000"/>
            <a:headEnd/>
            <a:tailEnd/>
          </a:ln>
        </p:spPr>
        <p:txBody>
          <a:bodyPr vert="horz" wrap="square" lIns="95779" tIns="47890" rIns="95779" bIns="47890" numCol="1" anchor="ctr" anchorCtr="0" compatLnSpc="1">
            <a:prstTxWarp prst="textNoShape">
              <a:avLst/>
            </a:prstTxWarp>
          </a:bodyPr>
          <a:lstStyle/>
          <a:p>
            <a:pPr lvl="0"/>
            <a:r>
              <a:rPr lang="en-US"/>
              <a:t>Click to edit Master title style</a:t>
            </a:r>
            <a:endParaRPr lang="en-US" dirty="0"/>
          </a:p>
        </p:txBody>
      </p:sp>
      <p:sp>
        <p:nvSpPr>
          <p:cNvPr id="6155" name="Rectangle 11"/>
          <p:cNvSpPr>
            <a:spLocks noGrp="1" noChangeArrowheads="1"/>
          </p:cNvSpPr>
          <p:nvPr>
            <p:ph type="body" idx="1"/>
          </p:nvPr>
        </p:nvSpPr>
        <p:spPr bwMode="auto">
          <a:xfrm>
            <a:off x="235332" y="838200"/>
            <a:ext cx="9211644" cy="5394960"/>
          </a:xfrm>
          <a:prstGeom prst="rect">
            <a:avLst/>
          </a:prstGeom>
          <a:noFill/>
          <a:ln w="9525">
            <a:noFill/>
            <a:miter lim="800000"/>
            <a:headEnd/>
            <a:tailEnd/>
          </a:ln>
        </p:spPr>
        <p:txBody>
          <a:bodyPr vert="horz" wrap="square" lIns="95779" tIns="47890" rIns="95779" bIns="4789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56" name="Line 12"/>
          <p:cNvSpPr>
            <a:spLocks noChangeShapeType="1"/>
          </p:cNvSpPr>
          <p:nvPr/>
        </p:nvSpPr>
        <p:spPr bwMode="auto">
          <a:xfrm>
            <a:off x="2311400" y="6248400"/>
            <a:ext cx="7594600" cy="0"/>
          </a:xfrm>
          <a:prstGeom prst="line">
            <a:avLst/>
          </a:prstGeom>
          <a:noFill/>
          <a:ln w="38100">
            <a:solidFill>
              <a:srgbClr val="F7C600"/>
            </a:solidFill>
            <a:round/>
            <a:headEnd/>
            <a:tailEnd/>
          </a:ln>
          <a:effectLst/>
        </p:spPr>
        <p:txBody>
          <a:bodyPr lIns="85963" tIns="42981" rIns="85963" bIns="42981"/>
          <a:lstStyle/>
          <a:p>
            <a:pPr fontAlgn="base">
              <a:spcBef>
                <a:spcPct val="0"/>
              </a:spcBef>
              <a:spcAft>
                <a:spcPct val="0"/>
              </a:spcAft>
              <a:defRPr/>
            </a:pPr>
            <a:endParaRPr lang="en-US" sz="2500" dirty="0">
              <a:solidFill>
                <a:prstClr val="black"/>
              </a:solidFill>
              <a:latin typeface="Times New Roman" pitchFamily="18" charset="0"/>
            </a:endParaRPr>
          </a:p>
        </p:txBody>
      </p:sp>
      <p:sp>
        <p:nvSpPr>
          <p:cNvPr id="6161" name="Text Box 17"/>
          <p:cNvSpPr txBox="1">
            <a:spLocks noChangeArrowheads="1"/>
          </p:cNvSpPr>
          <p:nvPr/>
        </p:nvSpPr>
        <p:spPr bwMode="auto">
          <a:xfrm rot="-5400000">
            <a:off x="-2392146" y="3550653"/>
            <a:ext cx="5035129" cy="219826"/>
          </a:xfrm>
          <a:prstGeom prst="rect">
            <a:avLst/>
          </a:prstGeom>
          <a:noFill/>
          <a:ln w="9525">
            <a:noFill/>
            <a:miter lim="800000"/>
            <a:headEnd/>
            <a:tailEnd/>
          </a:ln>
          <a:effectLst/>
        </p:spPr>
        <p:txBody>
          <a:bodyPr wrap="square" lIns="95779" tIns="47890" rIns="95779" bIns="47890">
            <a:spAutoFit/>
          </a:bodyPr>
          <a:lstStyle/>
          <a:p>
            <a:pPr algn="ctr" defTabSz="958126" fontAlgn="base">
              <a:spcBef>
                <a:spcPct val="0"/>
              </a:spcBef>
              <a:spcAft>
                <a:spcPct val="0"/>
              </a:spcAft>
              <a:defRPr/>
            </a:pPr>
            <a:r>
              <a:rPr lang="en-US" sz="800" dirty="0">
                <a:solidFill>
                  <a:schemeClr val="accent1">
                    <a:lumMod val="75000"/>
                  </a:schemeClr>
                </a:solidFill>
                <a:latin typeface="Verdana" pitchFamily="34" charset="0"/>
              </a:rPr>
              <a:t>Copyright © 2005-2024   Inventys  Research Company, All Rights Reserved. </a:t>
            </a:r>
          </a:p>
        </p:txBody>
      </p:sp>
      <p:sp>
        <p:nvSpPr>
          <p:cNvPr id="23" name="Date Placeholder 3"/>
          <p:cNvSpPr>
            <a:spLocks noGrp="1"/>
          </p:cNvSpPr>
          <p:nvPr>
            <p:ph type="dt" sz="half" idx="2"/>
          </p:nvPr>
        </p:nvSpPr>
        <p:spPr>
          <a:xfrm>
            <a:off x="2819400" y="6356350"/>
            <a:ext cx="685800" cy="365125"/>
          </a:xfrm>
          <a:prstGeom prst="rect">
            <a:avLst/>
          </a:prstGeom>
        </p:spPr>
        <p:txBody>
          <a:bodyPr vert="horz" lIns="91440" tIns="45720" rIns="91440" bIns="45720" rtlCol="0" anchor="ctr"/>
          <a:lstStyle>
            <a:lvl1pPr algn="ctr">
              <a:defRPr sz="900" b="0">
                <a:solidFill>
                  <a:schemeClr val="accent6">
                    <a:lumMod val="75000"/>
                  </a:schemeClr>
                </a:solidFill>
                <a:latin typeface="Arial" panose="020B0604020202020204" pitchFamily="34" charset="0"/>
                <a:ea typeface="Tahoma" panose="020B0604030504040204" pitchFamily="34" charset="0"/>
                <a:cs typeface="Arial" panose="020B0604020202020204" pitchFamily="34" charset="0"/>
              </a:defRPr>
            </a:lvl1pPr>
          </a:lstStyle>
          <a:p>
            <a:pPr algn="ctr" fontAlgn="base">
              <a:spcBef>
                <a:spcPct val="0"/>
              </a:spcBef>
              <a:spcAft>
                <a:spcPct val="0"/>
              </a:spcAft>
            </a:pPr>
            <a:r>
              <a:rPr lang="en-US" dirty="0">
                <a:solidFill>
                  <a:srgbClr val="F79646">
                    <a:lumMod val="75000"/>
                  </a:srgbClr>
                </a:solidFill>
              </a:rPr>
              <a:t>2024</a:t>
            </a:r>
          </a:p>
        </p:txBody>
      </p:sp>
      <p:sp>
        <p:nvSpPr>
          <p:cNvPr id="24" name="Footer Placeholder 4"/>
          <p:cNvSpPr>
            <a:spLocks noGrp="1"/>
          </p:cNvSpPr>
          <p:nvPr>
            <p:ph type="ftr" sz="quarter" idx="3"/>
          </p:nvPr>
        </p:nvSpPr>
        <p:spPr>
          <a:xfrm>
            <a:off x="4953000" y="6356350"/>
            <a:ext cx="2171700" cy="365125"/>
          </a:xfrm>
          <a:prstGeom prst="rect">
            <a:avLst/>
          </a:prstGeom>
        </p:spPr>
        <p:txBody>
          <a:bodyPr vert="horz" lIns="91440" tIns="45720" rIns="91440" bIns="45720" rtlCol="0" anchor="ctr"/>
          <a:lstStyle>
            <a:lvl1pPr algn="ctr">
              <a:defRPr sz="900" b="0">
                <a:solidFill>
                  <a:schemeClr val="accent6">
                    <a:lumMod val="75000"/>
                  </a:schemeClr>
                </a:solidFill>
                <a:latin typeface="Arial" panose="020B0604020202020204" pitchFamily="34" charset="0"/>
                <a:ea typeface="Tahoma" panose="020B0604030504040204" pitchFamily="34" charset="0"/>
                <a:cs typeface="Arial" panose="020B0604020202020204" pitchFamily="34" charset="0"/>
              </a:defRPr>
            </a:lvl1pPr>
          </a:lstStyle>
          <a:p>
            <a:pPr fontAlgn="base">
              <a:spcBef>
                <a:spcPct val="0"/>
              </a:spcBef>
              <a:spcAft>
                <a:spcPct val="0"/>
              </a:spcAft>
            </a:pPr>
            <a:r>
              <a:rPr lang="en-US" dirty="0">
                <a:solidFill>
                  <a:srgbClr val="F79646">
                    <a:lumMod val="75000"/>
                  </a:srgbClr>
                </a:solidFill>
              </a:rPr>
              <a:t>COMPANY CONFIDENTIAL</a:t>
            </a:r>
          </a:p>
        </p:txBody>
      </p:sp>
      <p:sp>
        <p:nvSpPr>
          <p:cNvPr id="25" name="Slide Number Placeholder 5"/>
          <p:cNvSpPr>
            <a:spLocks noGrp="1"/>
          </p:cNvSpPr>
          <p:nvPr>
            <p:ph type="sldNum" sz="quarter" idx="4"/>
          </p:nvPr>
        </p:nvSpPr>
        <p:spPr>
          <a:xfrm>
            <a:off x="8610600" y="6356350"/>
            <a:ext cx="685800" cy="365125"/>
          </a:xfrm>
          <a:prstGeom prst="rect">
            <a:avLst/>
          </a:prstGeom>
        </p:spPr>
        <p:txBody>
          <a:bodyPr vert="horz" lIns="91440" tIns="45720" rIns="91440" bIns="45720" rtlCol="0" anchor="ctr"/>
          <a:lstStyle>
            <a:lvl1pPr algn="r">
              <a:defRPr sz="900" b="0">
                <a:solidFill>
                  <a:schemeClr val="accent6">
                    <a:lumMod val="75000"/>
                  </a:schemeClr>
                </a:solidFill>
                <a:latin typeface="Arial" panose="020B0604020202020204" pitchFamily="34" charset="0"/>
                <a:ea typeface="Tahoma" panose="020B0604030504040204" pitchFamily="34" charset="0"/>
                <a:cs typeface="Arial" panose="020B0604020202020204" pitchFamily="34" charset="0"/>
              </a:defRPr>
            </a:lvl1p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a:t>
            </a:fld>
            <a:endParaRPr lang="en-US" dirty="0">
              <a:solidFill>
                <a:srgbClr val="F79646">
                  <a:lumMod val="75000"/>
                </a:srgbClr>
              </a:solidFill>
            </a:endParaRPr>
          </a:p>
        </p:txBody>
      </p:sp>
      <p:sp>
        <p:nvSpPr>
          <p:cNvPr id="19" name="Shape 10"/>
          <p:cNvSpPr/>
          <p:nvPr userDrawn="1"/>
        </p:nvSpPr>
        <p:spPr>
          <a:xfrm rot="16200000">
            <a:off x="7144748" y="3536815"/>
            <a:ext cx="4870449" cy="235215"/>
          </a:xfrm>
          <a:prstGeom prst="rect">
            <a:avLst/>
          </a:prstGeom>
          <a:ln w="12700">
            <a:miter lim="400000"/>
          </a:ln>
          <a:extLst>
            <a:ext uri="{C572A759-6A51-4108-AA02-DFA0A04FC94B}">
              <ma14:wrappingTextBoxFlag xmlns:ma14="http://schemas.microsoft.com/office/mac/drawingml/2011/main" xmlns="" val="1"/>
            </a:ext>
          </a:extLst>
        </p:spPr>
        <p:txBody>
          <a:bodyPr lIns="47890" tIns="47890" rIns="47890" bIns="47890">
            <a:spAutoFit/>
          </a:bodyPr>
          <a:lstStyle>
            <a:lvl1pPr algn="ctr" defTabSz="958126">
              <a:defRPr sz="1100">
                <a:solidFill>
                  <a:srgbClr val="336699"/>
                </a:solidFill>
                <a:latin typeface="Verdana"/>
                <a:ea typeface="Verdana"/>
                <a:cs typeface="Verdana"/>
                <a:sym typeface="Verdana"/>
              </a:defRPr>
            </a:lvl1pPr>
          </a:lstStyle>
          <a:p>
            <a:pPr marL="0" marR="0" indent="0" algn="ctr" defTabSz="958126" rtl="0" eaLnBrk="1" fontAlgn="auto" latinLnBrk="0" hangingPunct="1">
              <a:lnSpc>
                <a:spcPct val="100000"/>
              </a:lnSpc>
              <a:spcBef>
                <a:spcPts val="0"/>
              </a:spcBef>
              <a:spcAft>
                <a:spcPts val="0"/>
              </a:spcAft>
              <a:buClrTx/>
              <a:buSzTx/>
              <a:buFontTx/>
              <a:buNone/>
              <a:tabLst/>
              <a:defRPr/>
            </a:pPr>
            <a:r>
              <a:rPr lang="en-US" sz="900" b="0" dirty="0"/>
              <a:t>Inventys – </a:t>
            </a:r>
            <a:r>
              <a:rPr lang="en-US" sz="900" b="0" dirty="0">
                <a:solidFill>
                  <a:schemeClr val="bg1">
                    <a:lumMod val="65000"/>
                  </a:schemeClr>
                </a:solidFill>
              </a:rPr>
              <a:t>Reliable Responsible Manufacturing Partner for Innovators</a:t>
            </a:r>
            <a:endParaRPr lang="de-DE" sz="900" dirty="0">
              <a:solidFill>
                <a:schemeClr val="bg1">
                  <a:lumMod val="65000"/>
                </a:schemeClr>
              </a:solidFill>
            </a:endParaRPr>
          </a:p>
        </p:txBody>
      </p:sp>
      <p:pic>
        <p:nvPicPr>
          <p:cNvPr id="3" name="Picture 2"/>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27212" y="6324600"/>
            <a:ext cx="968188" cy="457200"/>
          </a:xfrm>
          <a:prstGeom prst="rect">
            <a:avLst/>
          </a:prstGeom>
        </p:spPr>
      </p:pic>
    </p:spTree>
    <p:extLst>
      <p:ext uri="{BB962C8B-B14F-4D97-AF65-F5344CB8AC3E}">
        <p14:creationId xmlns:p14="http://schemas.microsoft.com/office/powerpoint/2010/main" val="7471045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9" r:id="rId5"/>
    <p:sldLayoutId id="2147483671" r:id="rId6"/>
    <p:sldLayoutId id="2147483672" r:id="rId7"/>
    <p:sldLayoutId id="2147483667" r:id="rId8"/>
    <p:sldLayoutId id="2147483664" r:id="rId9"/>
    <p:sldLayoutId id="2147483668" r:id="rId10"/>
    <p:sldLayoutId id="2147483670" r:id="rId11"/>
  </p:sldLayoutIdLst>
  <p:transition/>
  <p:hf hdr="0"/>
  <p:txStyles>
    <p:titleStyle>
      <a:lvl1pPr algn="l" defTabSz="957263" rtl="0" eaLnBrk="1" fontAlgn="base" hangingPunct="1">
        <a:spcBef>
          <a:spcPct val="0"/>
        </a:spcBef>
        <a:spcAft>
          <a:spcPct val="0"/>
        </a:spcAft>
        <a:defRPr sz="3200">
          <a:solidFill>
            <a:srgbClr val="336699"/>
          </a:solidFill>
          <a:latin typeface="Microsoft Sans Serif" panose="020B0604020202020204" pitchFamily="34" charset="0"/>
          <a:ea typeface="Verdana" panose="020B0604030504040204" pitchFamily="34" charset="0"/>
          <a:cs typeface="Microsoft Sans Serif" panose="020B0604020202020204" pitchFamily="34" charset="0"/>
        </a:defRPr>
      </a:lvl1pPr>
      <a:lvl2pPr algn="l" defTabSz="957263" rtl="0" eaLnBrk="1" fontAlgn="base" hangingPunct="1">
        <a:spcBef>
          <a:spcPct val="0"/>
        </a:spcBef>
        <a:spcAft>
          <a:spcPct val="0"/>
        </a:spcAft>
        <a:defRPr sz="3800">
          <a:solidFill>
            <a:srgbClr val="336699"/>
          </a:solidFill>
          <a:latin typeface="Neuropolitical" pitchFamily="34" charset="0"/>
        </a:defRPr>
      </a:lvl2pPr>
      <a:lvl3pPr algn="l" defTabSz="957263" rtl="0" eaLnBrk="1" fontAlgn="base" hangingPunct="1">
        <a:spcBef>
          <a:spcPct val="0"/>
        </a:spcBef>
        <a:spcAft>
          <a:spcPct val="0"/>
        </a:spcAft>
        <a:defRPr sz="3800">
          <a:solidFill>
            <a:srgbClr val="336699"/>
          </a:solidFill>
          <a:latin typeface="Neuropolitical" pitchFamily="34" charset="0"/>
        </a:defRPr>
      </a:lvl3pPr>
      <a:lvl4pPr algn="l" defTabSz="957263" rtl="0" eaLnBrk="1" fontAlgn="base" hangingPunct="1">
        <a:spcBef>
          <a:spcPct val="0"/>
        </a:spcBef>
        <a:spcAft>
          <a:spcPct val="0"/>
        </a:spcAft>
        <a:defRPr sz="3800">
          <a:solidFill>
            <a:srgbClr val="336699"/>
          </a:solidFill>
          <a:latin typeface="Neuropolitical" pitchFamily="34" charset="0"/>
        </a:defRPr>
      </a:lvl4pPr>
      <a:lvl5pPr algn="l" defTabSz="957263" rtl="0" eaLnBrk="1" fontAlgn="base" hangingPunct="1">
        <a:spcBef>
          <a:spcPct val="0"/>
        </a:spcBef>
        <a:spcAft>
          <a:spcPct val="0"/>
        </a:spcAft>
        <a:defRPr sz="3800">
          <a:solidFill>
            <a:srgbClr val="336699"/>
          </a:solidFill>
          <a:latin typeface="Neuropolitical" pitchFamily="34" charset="0"/>
        </a:defRPr>
      </a:lvl5pPr>
      <a:lvl6pPr marL="429814" algn="l" defTabSz="958126" rtl="0" eaLnBrk="1" fontAlgn="base" hangingPunct="1">
        <a:spcBef>
          <a:spcPct val="0"/>
        </a:spcBef>
        <a:spcAft>
          <a:spcPct val="0"/>
        </a:spcAft>
        <a:defRPr sz="3800">
          <a:solidFill>
            <a:srgbClr val="336699"/>
          </a:solidFill>
          <a:latin typeface="Neuropolitical" pitchFamily="34" charset="0"/>
        </a:defRPr>
      </a:lvl6pPr>
      <a:lvl7pPr marL="859627" algn="l" defTabSz="958126" rtl="0" eaLnBrk="1" fontAlgn="base" hangingPunct="1">
        <a:spcBef>
          <a:spcPct val="0"/>
        </a:spcBef>
        <a:spcAft>
          <a:spcPct val="0"/>
        </a:spcAft>
        <a:defRPr sz="3800">
          <a:solidFill>
            <a:srgbClr val="336699"/>
          </a:solidFill>
          <a:latin typeface="Neuropolitical" pitchFamily="34" charset="0"/>
        </a:defRPr>
      </a:lvl7pPr>
      <a:lvl8pPr marL="1289441" algn="l" defTabSz="958126" rtl="0" eaLnBrk="1" fontAlgn="base" hangingPunct="1">
        <a:spcBef>
          <a:spcPct val="0"/>
        </a:spcBef>
        <a:spcAft>
          <a:spcPct val="0"/>
        </a:spcAft>
        <a:defRPr sz="3800">
          <a:solidFill>
            <a:srgbClr val="336699"/>
          </a:solidFill>
          <a:latin typeface="Neuropolitical" pitchFamily="34" charset="0"/>
        </a:defRPr>
      </a:lvl8pPr>
      <a:lvl9pPr marL="1719255" algn="l" defTabSz="958126" rtl="0" eaLnBrk="1" fontAlgn="base" hangingPunct="1">
        <a:spcBef>
          <a:spcPct val="0"/>
        </a:spcBef>
        <a:spcAft>
          <a:spcPct val="0"/>
        </a:spcAft>
        <a:defRPr sz="3800">
          <a:solidFill>
            <a:srgbClr val="336699"/>
          </a:solidFill>
          <a:latin typeface="Neuropolitical" pitchFamily="34" charset="0"/>
        </a:defRPr>
      </a:lvl9pPr>
    </p:titleStyle>
    <p:bodyStyle>
      <a:lvl1pPr marL="358775" indent="-358775" algn="l" defTabSz="957263" rtl="0" eaLnBrk="1" fontAlgn="base" hangingPunct="1">
        <a:spcBef>
          <a:spcPct val="20000"/>
        </a:spcBef>
        <a:spcAft>
          <a:spcPct val="0"/>
        </a:spcAft>
        <a:buSzPct val="70000"/>
        <a:buBlip>
          <a:blip r:embed="rId15"/>
        </a:buBlip>
        <a:defRPr sz="24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76288" indent="-298450" algn="l" defTabSz="957263" rtl="0" eaLnBrk="1" fontAlgn="base" hangingPunct="1">
        <a:spcBef>
          <a:spcPct val="20000"/>
        </a:spcBef>
        <a:spcAft>
          <a:spcPct val="0"/>
        </a:spcAft>
        <a:buSzPct val="70000"/>
        <a:buBlip>
          <a:blip r:embed="rId16"/>
        </a:buBlip>
        <a:defRPr sz="2000">
          <a:solidFill>
            <a:srgbClr val="969696"/>
          </a:solidFill>
          <a:latin typeface="Verdana" panose="020B0604030504040204" pitchFamily="34" charset="0"/>
          <a:ea typeface="Verdana" panose="020B0604030504040204" pitchFamily="34" charset="0"/>
          <a:cs typeface="Verdana" panose="020B0604030504040204" pitchFamily="34" charset="0"/>
        </a:defRPr>
      </a:lvl2pPr>
      <a:lvl3pPr marL="1195388" indent="-238125" algn="l" defTabSz="957263" rtl="0" eaLnBrk="1" fontAlgn="base" hangingPunct="1">
        <a:spcBef>
          <a:spcPct val="20000"/>
        </a:spcBef>
        <a:spcAft>
          <a:spcPct val="0"/>
        </a:spcAft>
        <a:buSzPct val="70000"/>
        <a:buBlip>
          <a:blip r:embed="rId17"/>
        </a:buBlip>
        <a:defRPr sz="1800">
          <a:solidFill>
            <a:srgbClr val="969696"/>
          </a:solidFill>
          <a:latin typeface="Verdana" panose="020B0604030504040204" pitchFamily="34" charset="0"/>
          <a:ea typeface="Verdana" panose="020B0604030504040204" pitchFamily="34" charset="0"/>
          <a:cs typeface="Verdana" panose="020B0604030504040204" pitchFamily="34" charset="0"/>
        </a:defRPr>
      </a:lvl3pPr>
      <a:lvl4pPr marL="1674813" indent="-238125" algn="l" defTabSz="957263" rtl="0" eaLnBrk="1" fontAlgn="base" hangingPunct="1">
        <a:spcBef>
          <a:spcPct val="20000"/>
        </a:spcBef>
        <a:spcAft>
          <a:spcPct val="0"/>
        </a:spcAft>
        <a:buSzPct val="70000"/>
        <a:buBlip>
          <a:blip r:embed="rId18"/>
        </a:buBlip>
        <a:defRPr sz="1600">
          <a:solidFill>
            <a:srgbClr val="969696"/>
          </a:solidFill>
          <a:latin typeface="Verdana" panose="020B0604030504040204" pitchFamily="34" charset="0"/>
          <a:ea typeface="Verdana" panose="020B0604030504040204" pitchFamily="34" charset="0"/>
          <a:cs typeface="Verdana" panose="020B0604030504040204" pitchFamily="34" charset="0"/>
        </a:defRPr>
      </a:lvl4pPr>
      <a:lvl5pPr marL="2154238" indent="-238125" algn="l" defTabSz="957263" rtl="0" eaLnBrk="1" fontAlgn="base" hangingPunct="1">
        <a:spcBef>
          <a:spcPct val="20000"/>
        </a:spcBef>
        <a:spcAft>
          <a:spcPct val="0"/>
        </a:spcAft>
        <a:buSzPct val="70000"/>
        <a:buBlip>
          <a:blip r:embed="rId19"/>
        </a:buBlip>
        <a:defRPr sz="1400">
          <a:solidFill>
            <a:srgbClr val="969696"/>
          </a:solidFill>
          <a:latin typeface="Verdana" panose="020B0604030504040204" pitchFamily="34" charset="0"/>
          <a:ea typeface="Verdana" panose="020B0604030504040204" pitchFamily="34" charset="0"/>
          <a:cs typeface="Verdana" panose="020B0604030504040204" pitchFamily="34" charset="0"/>
        </a:defRPr>
      </a:lvl5pPr>
      <a:lvl6pPr marL="2584852" indent="-238785" algn="l" defTabSz="958126" rtl="0" eaLnBrk="1" fontAlgn="base" hangingPunct="1">
        <a:spcBef>
          <a:spcPct val="20000"/>
        </a:spcBef>
        <a:spcAft>
          <a:spcPct val="0"/>
        </a:spcAft>
        <a:buSzPct val="70000"/>
        <a:buBlip>
          <a:blip r:embed="rId19"/>
        </a:buBlip>
        <a:defRPr>
          <a:solidFill>
            <a:srgbClr val="969696"/>
          </a:solidFill>
          <a:latin typeface="+mn-lt"/>
        </a:defRPr>
      </a:lvl6pPr>
      <a:lvl7pPr marL="3014666" indent="-238785" algn="l" defTabSz="958126" rtl="0" eaLnBrk="1" fontAlgn="base" hangingPunct="1">
        <a:spcBef>
          <a:spcPct val="20000"/>
        </a:spcBef>
        <a:spcAft>
          <a:spcPct val="0"/>
        </a:spcAft>
        <a:buSzPct val="70000"/>
        <a:buBlip>
          <a:blip r:embed="rId19"/>
        </a:buBlip>
        <a:defRPr>
          <a:solidFill>
            <a:srgbClr val="969696"/>
          </a:solidFill>
          <a:latin typeface="+mn-lt"/>
        </a:defRPr>
      </a:lvl7pPr>
      <a:lvl8pPr marL="3444479" indent="-238785" algn="l" defTabSz="958126" rtl="0" eaLnBrk="1" fontAlgn="base" hangingPunct="1">
        <a:spcBef>
          <a:spcPct val="20000"/>
        </a:spcBef>
        <a:spcAft>
          <a:spcPct val="0"/>
        </a:spcAft>
        <a:buSzPct val="70000"/>
        <a:buBlip>
          <a:blip r:embed="rId19"/>
        </a:buBlip>
        <a:defRPr>
          <a:solidFill>
            <a:srgbClr val="969696"/>
          </a:solidFill>
          <a:latin typeface="+mn-lt"/>
        </a:defRPr>
      </a:lvl8pPr>
      <a:lvl9pPr marL="3874293" indent="-238785" algn="l" defTabSz="958126" rtl="0" eaLnBrk="1" fontAlgn="base" hangingPunct="1">
        <a:spcBef>
          <a:spcPct val="20000"/>
        </a:spcBef>
        <a:spcAft>
          <a:spcPct val="0"/>
        </a:spcAft>
        <a:buSzPct val="70000"/>
        <a:buBlip>
          <a:blip r:embed="rId19"/>
        </a:buBlip>
        <a:defRPr>
          <a:solidFill>
            <a:srgbClr val="969696"/>
          </a:solidFill>
          <a:latin typeface="+mn-lt"/>
        </a:defRPr>
      </a:lvl9pPr>
    </p:bodyStyle>
    <p:otherStyle>
      <a:defPPr>
        <a:defRPr lang="en-US"/>
      </a:defPPr>
      <a:lvl1pPr marL="0" algn="l" defTabSz="859627" rtl="0" eaLnBrk="1" latinLnBrk="0" hangingPunct="1">
        <a:defRPr sz="1700" kern="1200">
          <a:solidFill>
            <a:schemeClr val="tx1"/>
          </a:solidFill>
          <a:latin typeface="+mn-lt"/>
          <a:ea typeface="+mn-ea"/>
          <a:cs typeface="+mn-cs"/>
        </a:defRPr>
      </a:lvl1pPr>
      <a:lvl2pPr marL="429814" algn="l" defTabSz="859627" rtl="0" eaLnBrk="1" latinLnBrk="0" hangingPunct="1">
        <a:defRPr sz="1700" kern="1200">
          <a:solidFill>
            <a:schemeClr val="tx1"/>
          </a:solidFill>
          <a:latin typeface="+mn-lt"/>
          <a:ea typeface="+mn-ea"/>
          <a:cs typeface="+mn-cs"/>
        </a:defRPr>
      </a:lvl2pPr>
      <a:lvl3pPr marL="859627" algn="l" defTabSz="859627" rtl="0" eaLnBrk="1" latinLnBrk="0" hangingPunct="1">
        <a:defRPr sz="1700" kern="1200">
          <a:solidFill>
            <a:schemeClr val="tx1"/>
          </a:solidFill>
          <a:latin typeface="+mn-lt"/>
          <a:ea typeface="+mn-ea"/>
          <a:cs typeface="+mn-cs"/>
        </a:defRPr>
      </a:lvl3pPr>
      <a:lvl4pPr marL="1289441" algn="l" defTabSz="859627" rtl="0" eaLnBrk="1" latinLnBrk="0" hangingPunct="1">
        <a:defRPr sz="1700" kern="1200">
          <a:solidFill>
            <a:schemeClr val="tx1"/>
          </a:solidFill>
          <a:latin typeface="+mn-lt"/>
          <a:ea typeface="+mn-ea"/>
          <a:cs typeface="+mn-cs"/>
        </a:defRPr>
      </a:lvl4pPr>
      <a:lvl5pPr marL="1719255" algn="l" defTabSz="859627" rtl="0" eaLnBrk="1" latinLnBrk="0" hangingPunct="1">
        <a:defRPr sz="1700" kern="1200">
          <a:solidFill>
            <a:schemeClr val="tx1"/>
          </a:solidFill>
          <a:latin typeface="+mn-lt"/>
          <a:ea typeface="+mn-ea"/>
          <a:cs typeface="+mn-cs"/>
        </a:defRPr>
      </a:lvl5pPr>
      <a:lvl6pPr marL="2149069" algn="l" defTabSz="859627" rtl="0" eaLnBrk="1" latinLnBrk="0" hangingPunct="1">
        <a:defRPr sz="1700" kern="1200">
          <a:solidFill>
            <a:schemeClr val="tx1"/>
          </a:solidFill>
          <a:latin typeface="+mn-lt"/>
          <a:ea typeface="+mn-ea"/>
          <a:cs typeface="+mn-cs"/>
        </a:defRPr>
      </a:lvl6pPr>
      <a:lvl7pPr marL="2578882" algn="l" defTabSz="859627" rtl="0" eaLnBrk="1" latinLnBrk="0" hangingPunct="1">
        <a:defRPr sz="1700" kern="1200">
          <a:solidFill>
            <a:schemeClr val="tx1"/>
          </a:solidFill>
          <a:latin typeface="+mn-lt"/>
          <a:ea typeface="+mn-ea"/>
          <a:cs typeface="+mn-cs"/>
        </a:defRPr>
      </a:lvl7pPr>
      <a:lvl8pPr marL="3008696" algn="l" defTabSz="859627" rtl="0" eaLnBrk="1" latinLnBrk="0" hangingPunct="1">
        <a:defRPr sz="1700" kern="1200">
          <a:solidFill>
            <a:schemeClr val="tx1"/>
          </a:solidFill>
          <a:latin typeface="+mn-lt"/>
          <a:ea typeface="+mn-ea"/>
          <a:cs typeface="+mn-cs"/>
        </a:defRPr>
      </a:lvl8pPr>
      <a:lvl9pPr marL="3438510" algn="l" defTabSz="859627"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diagramLayout" Target="../diagrams/layout6.xml"/><Relationship Id="rId7" Type="http://schemas.openxmlformats.org/officeDocument/2006/relationships/image" Target="../media/image12.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11" Type="http://schemas.openxmlformats.org/officeDocument/2006/relationships/image" Target="../media/image8.jpeg"/><Relationship Id="rId5" Type="http://schemas.openxmlformats.org/officeDocument/2006/relationships/diagramColors" Target="../diagrams/colors6.xml"/><Relationship Id="rId10" Type="http://schemas.openxmlformats.org/officeDocument/2006/relationships/image" Target="../media/image13.png"/><Relationship Id="rId4" Type="http://schemas.openxmlformats.org/officeDocument/2006/relationships/diagramQuickStyle" Target="../diagrams/quickStyle6.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12.png"/><Relationship Id="rId5" Type="http://schemas.openxmlformats.org/officeDocument/2006/relationships/diagramQuickStyle" Target="../diagrams/quickStyle1.xml"/><Relationship Id="rId10" Type="http://schemas.openxmlformats.org/officeDocument/2006/relationships/image" Target="../media/image11.png"/><Relationship Id="rId4" Type="http://schemas.openxmlformats.org/officeDocument/2006/relationships/diagramLayout" Target="../diagrams/layout1.xml"/><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slideLayout" Target="../slideLayouts/slideLayout2.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0" Type="http://schemas.openxmlformats.org/officeDocument/2006/relationships/tags" Target="../tags/tag20.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s>
</file>

<file path=ppt/slides/_rels/slide21.xml.rels><?xml version="1.0" encoding="UTF-8" standalone="yes"?>
<Relationships xmlns="http://schemas.openxmlformats.org/package/2006/relationships"><Relationship Id="rId8" Type="http://schemas.openxmlformats.org/officeDocument/2006/relationships/package" Target="../embeddings/Microsoft_Word_Document.docx"/><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26.w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4.png"/><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CBC3B75-0DC1-47C0-8CFD-B3618A0A2B97}"/>
              </a:ext>
            </a:extLst>
          </p:cNvPr>
          <p:cNvSpPr>
            <a:spLocks noGrp="1"/>
          </p:cNvSpPr>
          <p:nvPr>
            <p:ph type="subTitle" idx="1"/>
          </p:nvPr>
        </p:nvSpPr>
        <p:spPr/>
        <p:txBody>
          <a:bodyPr>
            <a:normAutofit fontScale="47500" lnSpcReduction="20000"/>
          </a:bodyPr>
          <a:lstStyle/>
          <a:p>
            <a:r>
              <a:rPr lang="en-IN" dirty="0"/>
              <a:t>Quality Management System</a:t>
            </a:r>
          </a:p>
          <a:p>
            <a:r>
              <a:rPr lang="en-IN" dirty="0"/>
              <a:t>Policy </a:t>
            </a:r>
          </a:p>
          <a:p>
            <a:r>
              <a:rPr lang="en-IN" dirty="0"/>
              <a:t>Organization</a:t>
            </a:r>
          </a:p>
          <a:p>
            <a:r>
              <a:rPr lang="en-IN" dirty="0"/>
              <a:t>Processes </a:t>
            </a:r>
          </a:p>
          <a:p>
            <a:r>
              <a:rPr lang="en-IN" dirty="0"/>
              <a:t>Quality standards</a:t>
            </a:r>
          </a:p>
          <a:p>
            <a:r>
              <a:rPr lang="en-IN" dirty="0"/>
              <a:t>Quality elements and Principles</a:t>
            </a:r>
          </a:p>
          <a:p>
            <a:r>
              <a:rPr lang="en-IN" dirty="0"/>
              <a:t>Audit Process</a:t>
            </a:r>
          </a:p>
          <a:p>
            <a:r>
              <a:rPr lang="en-IN" dirty="0"/>
              <a:t>Problem Detection</a:t>
            </a:r>
          </a:p>
          <a:p>
            <a:r>
              <a:rPr lang="en-IN" dirty="0"/>
              <a:t>CAPA</a:t>
            </a:r>
          </a:p>
          <a:p>
            <a:r>
              <a:rPr lang="en-IN" dirty="0"/>
              <a:t>Virtual tour</a:t>
            </a:r>
            <a:endParaRPr lang="en-US" dirty="0"/>
          </a:p>
        </p:txBody>
      </p:sp>
      <p:sp>
        <p:nvSpPr>
          <p:cNvPr id="3" name="Date Placeholder 2">
            <a:extLst>
              <a:ext uri="{FF2B5EF4-FFF2-40B4-BE49-F238E27FC236}">
                <a16:creationId xmlns:a16="http://schemas.microsoft.com/office/drawing/2014/main" id="{805ABC25-95B3-4AA8-A7B7-2D0B78C41B26}"/>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4" name="Footer Placeholder 3">
            <a:extLst>
              <a:ext uri="{FF2B5EF4-FFF2-40B4-BE49-F238E27FC236}">
                <a16:creationId xmlns:a16="http://schemas.microsoft.com/office/drawing/2014/main" id="{8B6ABD66-80F6-4888-A4A0-74FBCBB85B52}"/>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5" name="Slide Number Placeholder 4">
            <a:extLst>
              <a:ext uri="{FF2B5EF4-FFF2-40B4-BE49-F238E27FC236}">
                <a16:creationId xmlns:a16="http://schemas.microsoft.com/office/drawing/2014/main" id="{5EA9BFAD-50B0-45C0-B741-CDDA44022960}"/>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a:t>
            </a:fld>
            <a:endParaRPr lang="en-US" dirty="0">
              <a:solidFill>
                <a:srgbClr val="F79646">
                  <a:lumMod val="75000"/>
                </a:srgbClr>
              </a:solidFill>
            </a:endParaRPr>
          </a:p>
        </p:txBody>
      </p:sp>
      <p:sp>
        <p:nvSpPr>
          <p:cNvPr id="6" name="Title 5">
            <a:extLst>
              <a:ext uri="{FF2B5EF4-FFF2-40B4-BE49-F238E27FC236}">
                <a16:creationId xmlns:a16="http://schemas.microsoft.com/office/drawing/2014/main" id="{077F6E4C-ED7A-4F70-97A7-D4483C91487A}"/>
              </a:ext>
            </a:extLst>
          </p:cNvPr>
          <p:cNvSpPr>
            <a:spLocks noGrp="1"/>
          </p:cNvSpPr>
          <p:nvPr>
            <p:ph type="ctrTitle"/>
          </p:nvPr>
        </p:nvSpPr>
        <p:spPr/>
        <p:txBody>
          <a:bodyPr/>
          <a:lstStyle/>
          <a:p>
            <a:r>
              <a:rPr lang="en-IN" dirty="0"/>
              <a:t>Quality Management System at Inventys</a:t>
            </a:r>
            <a:endParaRPr lang="en-US" dirty="0"/>
          </a:p>
        </p:txBody>
      </p:sp>
    </p:spTree>
    <p:extLst>
      <p:ext uri="{BB962C8B-B14F-4D97-AF65-F5344CB8AC3E}">
        <p14:creationId xmlns:p14="http://schemas.microsoft.com/office/powerpoint/2010/main" val="333857107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D0769-31F3-4DB5-8CAD-DEB2650F9CD7}"/>
              </a:ext>
            </a:extLst>
          </p:cNvPr>
          <p:cNvSpPr>
            <a:spLocks noGrp="1"/>
          </p:cNvSpPr>
          <p:nvPr>
            <p:ph type="title"/>
          </p:nvPr>
        </p:nvSpPr>
        <p:spPr/>
        <p:txBody>
          <a:bodyPr/>
          <a:lstStyle/>
          <a:p>
            <a:r>
              <a:rPr lang="en-IN" dirty="0"/>
              <a:t>Inventys QC Organization</a:t>
            </a:r>
          </a:p>
        </p:txBody>
      </p:sp>
      <p:sp>
        <p:nvSpPr>
          <p:cNvPr id="3" name="Content Placeholder 2">
            <a:extLst>
              <a:ext uri="{FF2B5EF4-FFF2-40B4-BE49-F238E27FC236}">
                <a16:creationId xmlns:a16="http://schemas.microsoft.com/office/drawing/2014/main" id="{E8B9C077-45C4-4214-B5AF-FBF18D6CB437}"/>
              </a:ext>
            </a:extLst>
          </p:cNvPr>
          <p:cNvSpPr>
            <a:spLocks noGrp="1"/>
          </p:cNvSpPr>
          <p:nvPr>
            <p:ph idx="1"/>
          </p:nvPr>
        </p:nvSpPr>
        <p:spPr/>
        <p:txBody>
          <a:bodyPr/>
          <a:lstStyle/>
          <a:p>
            <a:endParaRPr lang="en-IN"/>
          </a:p>
        </p:txBody>
      </p:sp>
      <p:sp>
        <p:nvSpPr>
          <p:cNvPr id="4" name="Date Placeholder 3">
            <a:extLst>
              <a:ext uri="{FF2B5EF4-FFF2-40B4-BE49-F238E27FC236}">
                <a16:creationId xmlns:a16="http://schemas.microsoft.com/office/drawing/2014/main" id="{D4743741-6B85-4EFD-98B6-29A181362D63}"/>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9FC2A58D-434A-44AE-9398-A8DE36A992CC}"/>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737006B3-972D-4577-914C-76AFF9826760}"/>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0</a:t>
            </a:fld>
            <a:endParaRPr lang="en-US" dirty="0">
              <a:solidFill>
                <a:srgbClr val="F79646">
                  <a:lumMod val="75000"/>
                </a:srgbClr>
              </a:solidFill>
            </a:endParaRPr>
          </a:p>
        </p:txBody>
      </p:sp>
      <p:graphicFrame>
        <p:nvGraphicFramePr>
          <p:cNvPr id="7" name="Content Placeholder 6">
            <a:extLst>
              <a:ext uri="{FF2B5EF4-FFF2-40B4-BE49-F238E27FC236}">
                <a16:creationId xmlns:a16="http://schemas.microsoft.com/office/drawing/2014/main" id="{13E7CBA7-1F01-4765-B8BC-4644E1B295D0}"/>
              </a:ext>
            </a:extLst>
          </p:cNvPr>
          <p:cNvGraphicFramePr>
            <a:graphicFrameLocks/>
          </p:cNvGraphicFramePr>
          <p:nvPr>
            <p:extLst>
              <p:ext uri="{D42A27DB-BD31-4B8C-83A1-F6EECF244321}">
                <p14:modId xmlns:p14="http://schemas.microsoft.com/office/powerpoint/2010/main" val="2212716197"/>
              </p:ext>
            </p:extLst>
          </p:nvPr>
        </p:nvGraphicFramePr>
        <p:xfrm>
          <a:off x="234950" y="1142999"/>
          <a:ext cx="9212263" cy="47244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321138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4294A-2F48-41C1-881F-0C6AFFF7BD36}"/>
              </a:ext>
            </a:extLst>
          </p:cNvPr>
          <p:cNvSpPr>
            <a:spLocks noGrp="1"/>
          </p:cNvSpPr>
          <p:nvPr>
            <p:ph type="title"/>
          </p:nvPr>
        </p:nvSpPr>
        <p:spPr/>
        <p:txBody>
          <a:bodyPr/>
          <a:lstStyle/>
          <a:p>
            <a:pPr algn="ctr"/>
            <a:r>
              <a:rPr lang="en-IN" dirty="0"/>
              <a:t>5 Key Components of </a:t>
            </a:r>
            <a:br>
              <a:rPr lang="en-IN" dirty="0"/>
            </a:br>
            <a:r>
              <a:rPr lang="en-IN" dirty="0"/>
              <a:t>Good Manufacturing Practices</a:t>
            </a:r>
          </a:p>
        </p:txBody>
      </p:sp>
      <p:sp>
        <p:nvSpPr>
          <p:cNvPr id="4" name="Date Placeholder 3">
            <a:extLst>
              <a:ext uri="{FF2B5EF4-FFF2-40B4-BE49-F238E27FC236}">
                <a16:creationId xmlns:a16="http://schemas.microsoft.com/office/drawing/2014/main" id="{EAB7B534-E513-4D86-BA7E-0DED6C6477BE}"/>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01B79730-BE60-473F-9656-DF17986BCFF2}"/>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8EEAB4F4-A759-4A06-950E-076563FA5E23}"/>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1</a:t>
            </a:fld>
            <a:endParaRPr lang="en-US" dirty="0">
              <a:solidFill>
                <a:srgbClr val="F79646">
                  <a:lumMod val="75000"/>
                </a:srgbClr>
              </a:solidFill>
            </a:endParaRPr>
          </a:p>
        </p:txBody>
      </p:sp>
      <p:grpSp>
        <p:nvGrpSpPr>
          <p:cNvPr id="7" name="Group 6">
            <a:extLst>
              <a:ext uri="{FF2B5EF4-FFF2-40B4-BE49-F238E27FC236}">
                <a16:creationId xmlns:a16="http://schemas.microsoft.com/office/drawing/2014/main" id="{81551AA9-3C1A-4375-9FFD-6CD411F3AB01}"/>
              </a:ext>
            </a:extLst>
          </p:cNvPr>
          <p:cNvGrpSpPr/>
          <p:nvPr/>
        </p:nvGrpSpPr>
        <p:grpSpPr>
          <a:xfrm>
            <a:off x="266700" y="1676400"/>
            <a:ext cx="9410700" cy="3576291"/>
            <a:chOff x="-76200" y="1937489"/>
            <a:chExt cx="10110887" cy="3696202"/>
          </a:xfrm>
        </p:grpSpPr>
        <p:cxnSp>
          <p:nvCxnSpPr>
            <p:cNvPr id="8" name="Google Shape;94;p16">
              <a:extLst>
                <a:ext uri="{FF2B5EF4-FFF2-40B4-BE49-F238E27FC236}">
                  <a16:creationId xmlns:a16="http://schemas.microsoft.com/office/drawing/2014/main" id="{2588FAE3-6E3D-4F2F-B0F8-341A3516BF3D}"/>
                </a:ext>
              </a:extLst>
            </p:cNvPr>
            <p:cNvCxnSpPr/>
            <p:nvPr/>
          </p:nvCxnSpPr>
          <p:spPr>
            <a:xfrm>
              <a:off x="946873" y="3989571"/>
              <a:ext cx="6334250" cy="0"/>
            </a:xfrm>
            <a:prstGeom prst="straightConnector1">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9" name="Google Shape;96;p16">
              <a:extLst>
                <a:ext uri="{FF2B5EF4-FFF2-40B4-BE49-F238E27FC236}">
                  <a16:creationId xmlns:a16="http://schemas.microsoft.com/office/drawing/2014/main" id="{4E8C9FC2-E557-441D-AB8C-59CBBC5DE3F4}"/>
                </a:ext>
              </a:extLst>
            </p:cNvPr>
            <p:cNvGrpSpPr/>
            <p:nvPr/>
          </p:nvGrpSpPr>
          <p:grpSpPr>
            <a:xfrm>
              <a:off x="-76200" y="2087984"/>
              <a:ext cx="2041650" cy="3247806"/>
              <a:chOff x="710275" y="1333888"/>
              <a:chExt cx="1884600" cy="2997975"/>
            </a:xfrm>
          </p:grpSpPr>
          <p:sp>
            <p:nvSpPr>
              <p:cNvPr id="66" name="Google Shape;97;p16">
                <a:extLst>
                  <a:ext uri="{FF2B5EF4-FFF2-40B4-BE49-F238E27FC236}">
                    <a16:creationId xmlns:a16="http://schemas.microsoft.com/office/drawing/2014/main" id="{C75BE164-4B48-4994-84A5-AF6E0DB1F965}"/>
                  </a:ext>
                </a:extLst>
              </p:cNvPr>
              <p:cNvSpPr/>
              <p:nvPr/>
            </p:nvSpPr>
            <p:spPr>
              <a:xfrm>
                <a:off x="1060675" y="1333888"/>
                <a:ext cx="1183800" cy="1183800"/>
              </a:xfrm>
              <a:prstGeom prst="ellipse">
                <a:avLst/>
              </a:prstGeom>
              <a:noFill/>
              <a:ln w="9525" cap="flat" cmpd="sng">
                <a:solidFill>
                  <a:srgbClr val="000000"/>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67" name="Google Shape;98;p16">
                <a:extLst>
                  <a:ext uri="{FF2B5EF4-FFF2-40B4-BE49-F238E27FC236}">
                    <a16:creationId xmlns:a16="http://schemas.microsoft.com/office/drawing/2014/main" id="{2FC1CE65-4112-4CAF-8CF1-A6EC8270CD09}"/>
                  </a:ext>
                </a:extLst>
              </p:cNvPr>
              <p:cNvSpPr/>
              <p:nvPr/>
            </p:nvSpPr>
            <p:spPr>
              <a:xfrm>
                <a:off x="1143175" y="1416388"/>
                <a:ext cx="1018800" cy="1018800"/>
              </a:xfrm>
              <a:prstGeom prst="ellipse">
                <a:avLst/>
              </a:prstGeom>
              <a:solidFill>
                <a:schemeClr val="accent1"/>
              </a:solidFill>
              <a:ln>
                <a:noFill/>
              </a:ln>
            </p:spPr>
            <p:txBody>
              <a:bodyPr spcFirstLastPara="1" wrap="square" lIns="99044" tIns="99044" rIns="99044" bIns="99044" anchor="ctr" anchorCtr="0">
                <a:noAutofit/>
              </a:bodyPr>
              <a:lstStyle/>
              <a:p>
                <a:endParaRPr sz="1950"/>
              </a:p>
            </p:txBody>
          </p:sp>
          <p:sp>
            <p:nvSpPr>
              <p:cNvPr id="68" name="Google Shape;99;p16">
                <a:extLst>
                  <a:ext uri="{FF2B5EF4-FFF2-40B4-BE49-F238E27FC236}">
                    <a16:creationId xmlns:a16="http://schemas.microsoft.com/office/drawing/2014/main" id="{411083BA-F1BE-4319-A9EF-17576394720D}"/>
                  </a:ext>
                </a:extLst>
              </p:cNvPr>
              <p:cNvSpPr/>
              <p:nvPr/>
            </p:nvSpPr>
            <p:spPr>
              <a:xfrm>
                <a:off x="1570075" y="2583338"/>
                <a:ext cx="165000" cy="165000"/>
              </a:xfrm>
              <a:prstGeom prst="ellipse">
                <a:avLst/>
              </a:prstGeom>
              <a:solidFill>
                <a:schemeClr val="accent1"/>
              </a:solidFill>
              <a:ln>
                <a:noFill/>
              </a:ln>
            </p:spPr>
            <p:txBody>
              <a:bodyPr spcFirstLastPara="1" wrap="square" lIns="99044" tIns="99044" rIns="99044" bIns="99044" anchor="ctr" anchorCtr="0">
                <a:noAutofit/>
              </a:bodyPr>
              <a:lstStyle/>
              <a:p>
                <a:endParaRPr sz="1950"/>
              </a:p>
            </p:txBody>
          </p:sp>
          <p:sp>
            <p:nvSpPr>
              <p:cNvPr id="69" name="Google Shape;100;p16">
                <a:extLst>
                  <a:ext uri="{FF2B5EF4-FFF2-40B4-BE49-F238E27FC236}">
                    <a16:creationId xmlns:a16="http://schemas.microsoft.com/office/drawing/2014/main" id="{956F8C6F-5432-456C-80FE-58CF5BF81FE0}"/>
                  </a:ext>
                </a:extLst>
              </p:cNvPr>
              <p:cNvSpPr/>
              <p:nvPr/>
            </p:nvSpPr>
            <p:spPr>
              <a:xfrm>
                <a:off x="1604125" y="2813988"/>
                <a:ext cx="96900" cy="96900"/>
              </a:xfrm>
              <a:prstGeom prst="ellipse">
                <a:avLst/>
              </a:prstGeom>
              <a:solidFill>
                <a:schemeClr val="accent1"/>
              </a:solidFill>
              <a:ln>
                <a:noFill/>
              </a:ln>
            </p:spPr>
            <p:txBody>
              <a:bodyPr spcFirstLastPara="1" wrap="square" lIns="99044" tIns="99044" rIns="99044" bIns="99044" anchor="ctr" anchorCtr="0">
                <a:noAutofit/>
              </a:bodyPr>
              <a:lstStyle/>
              <a:p>
                <a:endParaRPr sz="1950"/>
              </a:p>
            </p:txBody>
          </p:sp>
          <p:sp>
            <p:nvSpPr>
              <p:cNvPr id="70" name="Google Shape;101;p16">
                <a:extLst>
                  <a:ext uri="{FF2B5EF4-FFF2-40B4-BE49-F238E27FC236}">
                    <a16:creationId xmlns:a16="http://schemas.microsoft.com/office/drawing/2014/main" id="{23887185-38F2-4D52-8895-072C3D1584C2}"/>
                  </a:ext>
                </a:extLst>
              </p:cNvPr>
              <p:cNvSpPr/>
              <p:nvPr/>
            </p:nvSpPr>
            <p:spPr>
              <a:xfrm>
                <a:off x="1543525" y="2976538"/>
                <a:ext cx="218100" cy="218100"/>
              </a:xfrm>
              <a:prstGeom prst="ellipse">
                <a:avLst/>
              </a:prstGeom>
              <a:solidFill>
                <a:srgbClr val="FFFFFF"/>
              </a:solidFill>
              <a:ln w="9525" cap="flat" cmpd="sng">
                <a:solidFill>
                  <a:srgbClr val="434343"/>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71" name="Google Shape;102;p16">
                <a:extLst>
                  <a:ext uri="{FF2B5EF4-FFF2-40B4-BE49-F238E27FC236}">
                    <a16:creationId xmlns:a16="http://schemas.microsoft.com/office/drawing/2014/main" id="{D6A30999-EF30-4964-9206-4DF9A306F144}"/>
                  </a:ext>
                </a:extLst>
              </p:cNvPr>
              <p:cNvSpPr/>
              <p:nvPr/>
            </p:nvSpPr>
            <p:spPr>
              <a:xfrm>
                <a:off x="1578475" y="3011383"/>
                <a:ext cx="148200" cy="148200"/>
              </a:xfrm>
              <a:prstGeom prst="ellipse">
                <a:avLst/>
              </a:prstGeom>
              <a:solidFill>
                <a:schemeClr val="accent1"/>
              </a:solidFill>
              <a:ln>
                <a:noFill/>
              </a:ln>
            </p:spPr>
            <p:txBody>
              <a:bodyPr spcFirstLastPara="1" wrap="square" lIns="99044" tIns="99044" rIns="99044" bIns="99044" anchor="ctr" anchorCtr="0">
                <a:noAutofit/>
              </a:bodyPr>
              <a:lstStyle/>
              <a:p>
                <a:endParaRPr sz="1950"/>
              </a:p>
            </p:txBody>
          </p:sp>
          <p:sp>
            <p:nvSpPr>
              <p:cNvPr id="72" name="Google Shape;103;p16">
                <a:extLst>
                  <a:ext uri="{FF2B5EF4-FFF2-40B4-BE49-F238E27FC236}">
                    <a16:creationId xmlns:a16="http://schemas.microsoft.com/office/drawing/2014/main" id="{69373CD7-E556-46F5-9B81-DB8B6E96D47E}"/>
                  </a:ext>
                </a:extLst>
              </p:cNvPr>
              <p:cNvSpPr txBox="1"/>
              <p:nvPr/>
            </p:nvSpPr>
            <p:spPr>
              <a:xfrm>
                <a:off x="710275" y="3450113"/>
                <a:ext cx="1884600" cy="429600"/>
              </a:xfrm>
              <a:prstGeom prst="rect">
                <a:avLst/>
              </a:prstGeom>
              <a:noFill/>
              <a:ln>
                <a:noFill/>
              </a:ln>
            </p:spPr>
            <p:txBody>
              <a:bodyPr spcFirstLastPara="1" wrap="square" lIns="99044" tIns="99044" rIns="99044" bIns="99044" anchor="ctr" anchorCtr="0">
                <a:noAutofit/>
              </a:bodyPr>
              <a:lstStyle/>
              <a:p>
                <a:pPr algn="ctr"/>
                <a:r>
                  <a:rPr lang="en-IN" sz="1842" dirty="0">
                    <a:solidFill>
                      <a:schemeClr val="accent1"/>
                    </a:solidFill>
                    <a:latin typeface="Fira Sans Extra Condensed Medium"/>
                    <a:ea typeface="Fira Sans Extra Condensed Medium"/>
                    <a:cs typeface="Fira Sans Extra Condensed Medium"/>
                    <a:sym typeface="Fira Sans Extra Condensed Medium"/>
                  </a:rPr>
                  <a:t>Material and Product </a:t>
                </a:r>
                <a:endParaRPr sz="1842" dirty="0">
                  <a:solidFill>
                    <a:schemeClr val="accent1"/>
                  </a:solidFill>
                  <a:latin typeface="Fira Sans Extra Condensed Medium"/>
                  <a:ea typeface="Fira Sans Extra Condensed Medium"/>
                  <a:cs typeface="Fira Sans Extra Condensed Medium"/>
                  <a:sym typeface="Fira Sans Extra Condensed Medium"/>
                </a:endParaRPr>
              </a:p>
            </p:txBody>
          </p:sp>
          <p:sp>
            <p:nvSpPr>
              <p:cNvPr id="73" name="Google Shape;104;p16">
                <a:extLst>
                  <a:ext uri="{FF2B5EF4-FFF2-40B4-BE49-F238E27FC236}">
                    <a16:creationId xmlns:a16="http://schemas.microsoft.com/office/drawing/2014/main" id="{75CAC5C3-0791-448D-9FDF-8C59CBFE463C}"/>
                  </a:ext>
                </a:extLst>
              </p:cNvPr>
              <p:cNvSpPr txBox="1"/>
              <p:nvPr/>
            </p:nvSpPr>
            <p:spPr>
              <a:xfrm>
                <a:off x="710275" y="3796962"/>
                <a:ext cx="1884600" cy="534900"/>
              </a:xfrm>
              <a:prstGeom prst="rect">
                <a:avLst/>
              </a:prstGeom>
              <a:noFill/>
              <a:ln>
                <a:noFill/>
              </a:ln>
            </p:spPr>
            <p:txBody>
              <a:bodyPr spcFirstLastPara="1" wrap="square" lIns="99044" tIns="99044" rIns="99044" bIns="99044" anchor="ctr" anchorCtr="0">
                <a:noAutofit/>
              </a:bodyPr>
              <a:lstStyle/>
              <a:p>
                <a:pPr algn="ctr"/>
                <a:endParaRPr lang="en-IN" sz="1300" dirty="0">
                  <a:latin typeface="Roboto"/>
                  <a:ea typeface="Roboto"/>
                  <a:cs typeface="Roboto"/>
                  <a:sym typeface="Roboto"/>
                </a:endParaRPr>
              </a:p>
              <a:p>
                <a:pPr algn="ctr"/>
                <a:r>
                  <a:rPr lang="en-IN" sz="1300" dirty="0">
                    <a:latin typeface="Roboto"/>
                    <a:ea typeface="Roboto"/>
                    <a:cs typeface="Roboto"/>
                    <a:sym typeface="Roboto"/>
                  </a:rPr>
                  <a:t>RM, Regent, solvents, Product contact </a:t>
                </a:r>
                <a:endParaRPr sz="1300" dirty="0">
                  <a:latin typeface="Roboto"/>
                  <a:ea typeface="Roboto"/>
                  <a:cs typeface="Roboto"/>
                  <a:sym typeface="Roboto"/>
                </a:endParaRPr>
              </a:p>
            </p:txBody>
          </p:sp>
        </p:grpSp>
        <p:grpSp>
          <p:nvGrpSpPr>
            <p:cNvPr id="10" name="Google Shape;105;p16">
              <a:extLst>
                <a:ext uri="{FF2B5EF4-FFF2-40B4-BE49-F238E27FC236}">
                  <a16:creationId xmlns:a16="http://schemas.microsoft.com/office/drawing/2014/main" id="{AC1B0C36-1D25-4E5E-B27F-630C94A9C389}"/>
                </a:ext>
              </a:extLst>
            </p:cNvPr>
            <p:cNvGrpSpPr/>
            <p:nvPr/>
          </p:nvGrpSpPr>
          <p:grpSpPr>
            <a:xfrm>
              <a:off x="6247813" y="1937489"/>
              <a:ext cx="2086960" cy="3507872"/>
              <a:chOff x="6547816" y="1333888"/>
              <a:chExt cx="1926425" cy="2965985"/>
            </a:xfrm>
          </p:grpSpPr>
          <p:sp>
            <p:nvSpPr>
              <p:cNvPr id="58" name="Google Shape;106;p16">
                <a:extLst>
                  <a:ext uri="{FF2B5EF4-FFF2-40B4-BE49-F238E27FC236}">
                    <a16:creationId xmlns:a16="http://schemas.microsoft.com/office/drawing/2014/main" id="{546ECCDD-4C6A-4F9B-8EB0-9249A717EA54}"/>
                  </a:ext>
                </a:extLst>
              </p:cNvPr>
              <p:cNvSpPr/>
              <p:nvPr/>
            </p:nvSpPr>
            <p:spPr>
              <a:xfrm>
                <a:off x="6899575" y="1333888"/>
                <a:ext cx="1183800" cy="1183800"/>
              </a:xfrm>
              <a:prstGeom prst="ellipse">
                <a:avLst/>
              </a:prstGeom>
              <a:noFill/>
              <a:ln w="9525" cap="flat" cmpd="sng">
                <a:solidFill>
                  <a:srgbClr val="000000"/>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59" name="Google Shape;107;p16">
                <a:extLst>
                  <a:ext uri="{FF2B5EF4-FFF2-40B4-BE49-F238E27FC236}">
                    <a16:creationId xmlns:a16="http://schemas.microsoft.com/office/drawing/2014/main" id="{C5D34ACB-A5D1-40A3-9A91-C1E1B0CDCB38}"/>
                  </a:ext>
                </a:extLst>
              </p:cNvPr>
              <p:cNvSpPr/>
              <p:nvPr/>
            </p:nvSpPr>
            <p:spPr>
              <a:xfrm>
                <a:off x="6982075" y="1416388"/>
                <a:ext cx="1018800" cy="1018800"/>
              </a:xfrm>
              <a:prstGeom prst="ellipse">
                <a:avLst/>
              </a:prstGeom>
              <a:solidFill>
                <a:schemeClr val="accent4"/>
              </a:solidFill>
              <a:ln>
                <a:noFill/>
              </a:ln>
            </p:spPr>
            <p:txBody>
              <a:bodyPr spcFirstLastPara="1" wrap="square" lIns="99044" tIns="99044" rIns="99044" bIns="99044" anchor="ctr" anchorCtr="0">
                <a:noAutofit/>
              </a:bodyPr>
              <a:lstStyle/>
              <a:p>
                <a:endParaRPr sz="1950"/>
              </a:p>
            </p:txBody>
          </p:sp>
          <p:sp>
            <p:nvSpPr>
              <p:cNvPr id="60" name="Google Shape;108;p16">
                <a:extLst>
                  <a:ext uri="{FF2B5EF4-FFF2-40B4-BE49-F238E27FC236}">
                    <a16:creationId xmlns:a16="http://schemas.microsoft.com/office/drawing/2014/main" id="{A45AEF17-3AAD-4FE6-98FC-D180CDE13A25}"/>
                  </a:ext>
                </a:extLst>
              </p:cNvPr>
              <p:cNvSpPr/>
              <p:nvPr/>
            </p:nvSpPr>
            <p:spPr>
              <a:xfrm>
                <a:off x="7408975" y="2583338"/>
                <a:ext cx="165000" cy="165000"/>
              </a:xfrm>
              <a:prstGeom prst="ellipse">
                <a:avLst/>
              </a:prstGeom>
              <a:solidFill>
                <a:schemeClr val="accent4"/>
              </a:solidFill>
              <a:ln>
                <a:noFill/>
              </a:ln>
            </p:spPr>
            <p:txBody>
              <a:bodyPr spcFirstLastPara="1" wrap="square" lIns="99044" tIns="99044" rIns="99044" bIns="99044" anchor="ctr" anchorCtr="0">
                <a:noAutofit/>
              </a:bodyPr>
              <a:lstStyle/>
              <a:p>
                <a:endParaRPr sz="1950"/>
              </a:p>
            </p:txBody>
          </p:sp>
          <p:sp>
            <p:nvSpPr>
              <p:cNvPr id="61" name="Google Shape;109;p16">
                <a:extLst>
                  <a:ext uri="{FF2B5EF4-FFF2-40B4-BE49-F238E27FC236}">
                    <a16:creationId xmlns:a16="http://schemas.microsoft.com/office/drawing/2014/main" id="{AFEC2169-02FD-491E-8353-83E1BE9DD298}"/>
                  </a:ext>
                </a:extLst>
              </p:cNvPr>
              <p:cNvSpPr/>
              <p:nvPr/>
            </p:nvSpPr>
            <p:spPr>
              <a:xfrm>
                <a:off x="7443025" y="2813988"/>
                <a:ext cx="96900" cy="96900"/>
              </a:xfrm>
              <a:prstGeom prst="ellipse">
                <a:avLst/>
              </a:prstGeom>
              <a:solidFill>
                <a:schemeClr val="accent4"/>
              </a:solidFill>
              <a:ln>
                <a:noFill/>
              </a:ln>
            </p:spPr>
            <p:txBody>
              <a:bodyPr spcFirstLastPara="1" wrap="square" lIns="99044" tIns="99044" rIns="99044" bIns="99044" anchor="ctr" anchorCtr="0">
                <a:noAutofit/>
              </a:bodyPr>
              <a:lstStyle/>
              <a:p>
                <a:endParaRPr sz="1950"/>
              </a:p>
            </p:txBody>
          </p:sp>
          <p:sp>
            <p:nvSpPr>
              <p:cNvPr id="62" name="Google Shape;110;p16">
                <a:extLst>
                  <a:ext uri="{FF2B5EF4-FFF2-40B4-BE49-F238E27FC236}">
                    <a16:creationId xmlns:a16="http://schemas.microsoft.com/office/drawing/2014/main" id="{B0F97FD4-EADD-4157-AD3C-41CA2B8F4AE5}"/>
                  </a:ext>
                </a:extLst>
              </p:cNvPr>
              <p:cNvSpPr/>
              <p:nvPr/>
            </p:nvSpPr>
            <p:spPr>
              <a:xfrm>
                <a:off x="7382425" y="2976538"/>
                <a:ext cx="218100" cy="218100"/>
              </a:xfrm>
              <a:prstGeom prst="ellipse">
                <a:avLst/>
              </a:prstGeom>
              <a:solidFill>
                <a:srgbClr val="FFFFFF"/>
              </a:solidFill>
              <a:ln w="9525" cap="flat" cmpd="sng">
                <a:solidFill>
                  <a:srgbClr val="434343"/>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63" name="Google Shape;111;p16">
                <a:extLst>
                  <a:ext uri="{FF2B5EF4-FFF2-40B4-BE49-F238E27FC236}">
                    <a16:creationId xmlns:a16="http://schemas.microsoft.com/office/drawing/2014/main" id="{775688B2-5C6D-4336-B9EE-2464DA1639EE}"/>
                  </a:ext>
                </a:extLst>
              </p:cNvPr>
              <p:cNvSpPr/>
              <p:nvPr/>
            </p:nvSpPr>
            <p:spPr>
              <a:xfrm>
                <a:off x="7417375" y="3011383"/>
                <a:ext cx="148200" cy="148200"/>
              </a:xfrm>
              <a:prstGeom prst="ellipse">
                <a:avLst/>
              </a:prstGeom>
              <a:solidFill>
                <a:schemeClr val="accent4"/>
              </a:solidFill>
              <a:ln>
                <a:noFill/>
              </a:ln>
            </p:spPr>
            <p:txBody>
              <a:bodyPr spcFirstLastPara="1" wrap="square" lIns="99044" tIns="99044" rIns="99044" bIns="99044" anchor="ctr" anchorCtr="0">
                <a:noAutofit/>
              </a:bodyPr>
              <a:lstStyle/>
              <a:p>
                <a:endParaRPr sz="1950"/>
              </a:p>
            </p:txBody>
          </p:sp>
          <p:sp>
            <p:nvSpPr>
              <p:cNvPr id="64" name="Google Shape;112;p16">
                <a:extLst>
                  <a:ext uri="{FF2B5EF4-FFF2-40B4-BE49-F238E27FC236}">
                    <a16:creationId xmlns:a16="http://schemas.microsoft.com/office/drawing/2014/main" id="{D80E7330-1560-46F2-A08E-2868D3389B9D}"/>
                  </a:ext>
                </a:extLst>
              </p:cNvPr>
              <p:cNvSpPr txBox="1"/>
              <p:nvPr/>
            </p:nvSpPr>
            <p:spPr>
              <a:xfrm>
                <a:off x="6547816" y="3318138"/>
                <a:ext cx="1884600" cy="429600"/>
              </a:xfrm>
              <a:prstGeom prst="rect">
                <a:avLst/>
              </a:prstGeom>
              <a:noFill/>
              <a:ln>
                <a:noFill/>
              </a:ln>
            </p:spPr>
            <p:txBody>
              <a:bodyPr spcFirstLastPara="1" wrap="square" lIns="99044" tIns="99044" rIns="99044" bIns="99044" anchor="ctr" anchorCtr="0">
                <a:noAutofit/>
              </a:bodyPr>
              <a:lstStyle/>
              <a:p>
                <a:pPr algn="ctr"/>
                <a:r>
                  <a:rPr lang="en-IN" sz="1842" dirty="0">
                    <a:solidFill>
                      <a:schemeClr val="accent4"/>
                    </a:solidFill>
                    <a:latin typeface="Fira Sans Extra Condensed Medium"/>
                    <a:ea typeface="Fira Sans Extra Condensed Medium"/>
                    <a:cs typeface="Fira Sans Extra Condensed Medium"/>
                    <a:sym typeface="Fira Sans Extra Condensed Medium"/>
                  </a:rPr>
                  <a:t>Procedure</a:t>
                </a:r>
                <a:endParaRPr sz="1842" dirty="0">
                  <a:solidFill>
                    <a:schemeClr val="accent4"/>
                  </a:solidFill>
                  <a:latin typeface="Fira Sans Extra Condensed Medium"/>
                  <a:ea typeface="Fira Sans Extra Condensed Medium"/>
                  <a:cs typeface="Fira Sans Extra Condensed Medium"/>
                  <a:sym typeface="Fira Sans Extra Condensed Medium"/>
                </a:endParaRPr>
              </a:p>
            </p:txBody>
          </p:sp>
          <p:sp>
            <p:nvSpPr>
              <p:cNvPr id="65" name="Google Shape;113;p16">
                <a:extLst>
                  <a:ext uri="{FF2B5EF4-FFF2-40B4-BE49-F238E27FC236}">
                    <a16:creationId xmlns:a16="http://schemas.microsoft.com/office/drawing/2014/main" id="{B31B6389-0F10-4562-A6D6-A201006E1CC2}"/>
                  </a:ext>
                </a:extLst>
              </p:cNvPr>
              <p:cNvSpPr txBox="1"/>
              <p:nvPr/>
            </p:nvSpPr>
            <p:spPr>
              <a:xfrm>
                <a:off x="6589641" y="3764973"/>
                <a:ext cx="1884600" cy="534900"/>
              </a:xfrm>
              <a:prstGeom prst="rect">
                <a:avLst/>
              </a:prstGeom>
              <a:noFill/>
              <a:ln>
                <a:noFill/>
              </a:ln>
            </p:spPr>
            <p:txBody>
              <a:bodyPr spcFirstLastPara="1" wrap="square" lIns="99044" tIns="99044" rIns="99044" bIns="99044" anchor="ctr" anchorCtr="0">
                <a:noAutofit/>
              </a:bodyPr>
              <a:lstStyle/>
              <a:p>
                <a:pPr algn="ctr"/>
                <a:r>
                  <a:rPr lang="en-IN" sz="1300" dirty="0">
                    <a:latin typeface="Roboto"/>
                    <a:ea typeface="Roboto"/>
                    <a:cs typeface="Roboto"/>
                    <a:sym typeface="Roboto"/>
                  </a:rPr>
                  <a:t>Site Master file : Policy and QMS Maintain complete records : Regulatory </a:t>
                </a:r>
                <a:endParaRPr sz="1300" dirty="0">
                  <a:latin typeface="Roboto"/>
                  <a:ea typeface="Roboto"/>
                  <a:cs typeface="Roboto"/>
                  <a:sym typeface="Roboto"/>
                </a:endParaRPr>
              </a:p>
            </p:txBody>
          </p:sp>
        </p:grpSp>
        <p:grpSp>
          <p:nvGrpSpPr>
            <p:cNvPr id="11" name="Google Shape;114;p16">
              <a:extLst>
                <a:ext uri="{FF2B5EF4-FFF2-40B4-BE49-F238E27FC236}">
                  <a16:creationId xmlns:a16="http://schemas.microsoft.com/office/drawing/2014/main" id="{DE75A219-E3BA-43EE-A8DC-C2C9DC64732A}"/>
                </a:ext>
              </a:extLst>
            </p:cNvPr>
            <p:cNvGrpSpPr/>
            <p:nvPr/>
          </p:nvGrpSpPr>
          <p:grpSpPr>
            <a:xfrm>
              <a:off x="2032291" y="2087984"/>
              <a:ext cx="2041650" cy="3545707"/>
              <a:chOff x="2656575" y="1333888"/>
              <a:chExt cx="1884600" cy="3272961"/>
            </a:xfrm>
          </p:grpSpPr>
          <p:sp>
            <p:nvSpPr>
              <p:cNvPr id="50" name="Google Shape;115;p16">
                <a:extLst>
                  <a:ext uri="{FF2B5EF4-FFF2-40B4-BE49-F238E27FC236}">
                    <a16:creationId xmlns:a16="http://schemas.microsoft.com/office/drawing/2014/main" id="{C60BBAB9-1C87-4B28-98BC-637D68085513}"/>
                  </a:ext>
                </a:extLst>
              </p:cNvPr>
              <p:cNvSpPr/>
              <p:nvPr/>
            </p:nvSpPr>
            <p:spPr>
              <a:xfrm>
                <a:off x="3006975" y="1333888"/>
                <a:ext cx="1183800" cy="1183800"/>
              </a:xfrm>
              <a:prstGeom prst="ellipse">
                <a:avLst/>
              </a:prstGeom>
              <a:noFill/>
              <a:ln w="9525" cap="flat" cmpd="sng">
                <a:solidFill>
                  <a:srgbClr val="000000"/>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51" name="Google Shape;116;p16">
                <a:extLst>
                  <a:ext uri="{FF2B5EF4-FFF2-40B4-BE49-F238E27FC236}">
                    <a16:creationId xmlns:a16="http://schemas.microsoft.com/office/drawing/2014/main" id="{BF8E1BEF-14BE-4CE3-BEFA-164D487B387D}"/>
                  </a:ext>
                </a:extLst>
              </p:cNvPr>
              <p:cNvSpPr/>
              <p:nvPr/>
            </p:nvSpPr>
            <p:spPr>
              <a:xfrm>
                <a:off x="3089475" y="1416388"/>
                <a:ext cx="1018800" cy="1018800"/>
              </a:xfrm>
              <a:prstGeom prst="ellipse">
                <a:avLst/>
              </a:prstGeom>
              <a:solidFill>
                <a:schemeClr val="accent2"/>
              </a:solidFill>
              <a:ln>
                <a:noFill/>
              </a:ln>
            </p:spPr>
            <p:txBody>
              <a:bodyPr spcFirstLastPara="1" wrap="square" lIns="99044" tIns="99044" rIns="99044" bIns="99044" anchor="ctr" anchorCtr="0">
                <a:noAutofit/>
              </a:bodyPr>
              <a:lstStyle/>
              <a:p>
                <a:endParaRPr sz="1950"/>
              </a:p>
            </p:txBody>
          </p:sp>
          <p:sp>
            <p:nvSpPr>
              <p:cNvPr id="52" name="Google Shape;117;p16">
                <a:extLst>
                  <a:ext uri="{FF2B5EF4-FFF2-40B4-BE49-F238E27FC236}">
                    <a16:creationId xmlns:a16="http://schemas.microsoft.com/office/drawing/2014/main" id="{EA4463FF-6873-4C1F-9BD3-E2A33A0C725E}"/>
                  </a:ext>
                </a:extLst>
              </p:cNvPr>
              <p:cNvSpPr/>
              <p:nvPr/>
            </p:nvSpPr>
            <p:spPr>
              <a:xfrm>
                <a:off x="3516375" y="2583338"/>
                <a:ext cx="165000" cy="165000"/>
              </a:xfrm>
              <a:prstGeom prst="ellipse">
                <a:avLst/>
              </a:prstGeom>
              <a:solidFill>
                <a:schemeClr val="accent2"/>
              </a:solidFill>
              <a:ln>
                <a:noFill/>
              </a:ln>
            </p:spPr>
            <p:txBody>
              <a:bodyPr spcFirstLastPara="1" wrap="square" lIns="99044" tIns="99044" rIns="99044" bIns="99044" anchor="ctr" anchorCtr="0">
                <a:noAutofit/>
              </a:bodyPr>
              <a:lstStyle/>
              <a:p>
                <a:endParaRPr sz="1950"/>
              </a:p>
            </p:txBody>
          </p:sp>
          <p:sp>
            <p:nvSpPr>
              <p:cNvPr id="53" name="Google Shape;118;p16">
                <a:extLst>
                  <a:ext uri="{FF2B5EF4-FFF2-40B4-BE49-F238E27FC236}">
                    <a16:creationId xmlns:a16="http://schemas.microsoft.com/office/drawing/2014/main" id="{A6D85408-4D26-400A-A8EA-F33FE211AFB8}"/>
                  </a:ext>
                </a:extLst>
              </p:cNvPr>
              <p:cNvSpPr/>
              <p:nvPr/>
            </p:nvSpPr>
            <p:spPr>
              <a:xfrm>
                <a:off x="3550425" y="2813988"/>
                <a:ext cx="96900" cy="96900"/>
              </a:xfrm>
              <a:prstGeom prst="ellipse">
                <a:avLst/>
              </a:prstGeom>
              <a:solidFill>
                <a:schemeClr val="accent2"/>
              </a:solidFill>
              <a:ln>
                <a:noFill/>
              </a:ln>
            </p:spPr>
            <p:txBody>
              <a:bodyPr spcFirstLastPara="1" wrap="square" lIns="99044" tIns="99044" rIns="99044" bIns="99044" anchor="ctr" anchorCtr="0">
                <a:noAutofit/>
              </a:bodyPr>
              <a:lstStyle/>
              <a:p>
                <a:endParaRPr sz="1950"/>
              </a:p>
            </p:txBody>
          </p:sp>
          <p:sp>
            <p:nvSpPr>
              <p:cNvPr id="54" name="Google Shape;119;p16">
                <a:extLst>
                  <a:ext uri="{FF2B5EF4-FFF2-40B4-BE49-F238E27FC236}">
                    <a16:creationId xmlns:a16="http://schemas.microsoft.com/office/drawing/2014/main" id="{3314560F-6772-468D-AC42-A27E968AAF95}"/>
                  </a:ext>
                </a:extLst>
              </p:cNvPr>
              <p:cNvSpPr/>
              <p:nvPr/>
            </p:nvSpPr>
            <p:spPr>
              <a:xfrm>
                <a:off x="3489825" y="2976538"/>
                <a:ext cx="218100" cy="218100"/>
              </a:xfrm>
              <a:prstGeom prst="ellipse">
                <a:avLst/>
              </a:prstGeom>
              <a:solidFill>
                <a:srgbClr val="FFFFFF"/>
              </a:solidFill>
              <a:ln w="9525" cap="flat" cmpd="sng">
                <a:solidFill>
                  <a:srgbClr val="434343"/>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55" name="Google Shape;120;p16">
                <a:extLst>
                  <a:ext uri="{FF2B5EF4-FFF2-40B4-BE49-F238E27FC236}">
                    <a16:creationId xmlns:a16="http://schemas.microsoft.com/office/drawing/2014/main" id="{0B4E392C-DA28-4CBE-8333-4E087A86C181}"/>
                  </a:ext>
                </a:extLst>
              </p:cNvPr>
              <p:cNvSpPr/>
              <p:nvPr/>
            </p:nvSpPr>
            <p:spPr>
              <a:xfrm>
                <a:off x="3524775" y="3011383"/>
                <a:ext cx="148200" cy="148200"/>
              </a:xfrm>
              <a:prstGeom prst="ellipse">
                <a:avLst/>
              </a:prstGeom>
              <a:solidFill>
                <a:schemeClr val="accent2"/>
              </a:solidFill>
              <a:ln>
                <a:noFill/>
              </a:ln>
            </p:spPr>
            <p:txBody>
              <a:bodyPr spcFirstLastPara="1" wrap="square" lIns="99044" tIns="99044" rIns="99044" bIns="99044" anchor="ctr" anchorCtr="0">
                <a:noAutofit/>
              </a:bodyPr>
              <a:lstStyle/>
              <a:p>
                <a:endParaRPr sz="1950"/>
              </a:p>
            </p:txBody>
          </p:sp>
          <p:sp>
            <p:nvSpPr>
              <p:cNvPr id="56" name="Google Shape;121;p16">
                <a:extLst>
                  <a:ext uri="{FF2B5EF4-FFF2-40B4-BE49-F238E27FC236}">
                    <a16:creationId xmlns:a16="http://schemas.microsoft.com/office/drawing/2014/main" id="{37F94760-B58C-42B7-B7C4-04AC3DC84B01}"/>
                  </a:ext>
                </a:extLst>
              </p:cNvPr>
              <p:cNvSpPr txBox="1"/>
              <p:nvPr/>
            </p:nvSpPr>
            <p:spPr>
              <a:xfrm>
                <a:off x="2656575" y="3355416"/>
                <a:ext cx="1884600" cy="429600"/>
              </a:xfrm>
              <a:prstGeom prst="rect">
                <a:avLst/>
              </a:prstGeom>
              <a:noFill/>
              <a:ln>
                <a:noFill/>
              </a:ln>
            </p:spPr>
            <p:txBody>
              <a:bodyPr spcFirstLastPara="1" wrap="square" lIns="99044" tIns="99044" rIns="99044" bIns="99044" anchor="ctr" anchorCtr="0">
                <a:noAutofit/>
              </a:bodyPr>
              <a:lstStyle/>
              <a:p>
                <a:pPr algn="ctr"/>
                <a:r>
                  <a:rPr lang="en-IN" sz="1842" dirty="0">
                    <a:solidFill>
                      <a:schemeClr val="accent2"/>
                    </a:solidFill>
                    <a:latin typeface="Fira Sans Extra Condensed Medium"/>
                    <a:ea typeface="Fira Sans Extra Condensed Medium"/>
                    <a:cs typeface="Fira Sans Extra Condensed Medium"/>
                    <a:sym typeface="Fira Sans Extra Condensed Medium"/>
                  </a:rPr>
                  <a:t>Premises</a:t>
                </a:r>
                <a:endParaRPr sz="1842" dirty="0">
                  <a:solidFill>
                    <a:schemeClr val="accent2"/>
                  </a:solidFill>
                  <a:latin typeface="Fira Sans Extra Condensed Medium"/>
                  <a:ea typeface="Fira Sans Extra Condensed Medium"/>
                  <a:cs typeface="Fira Sans Extra Condensed Medium"/>
                  <a:sym typeface="Fira Sans Extra Condensed Medium"/>
                </a:endParaRPr>
              </a:p>
            </p:txBody>
          </p:sp>
          <p:sp>
            <p:nvSpPr>
              <p:cNvPr id="57" name="Google Shape;122;p16">
                <a:extLst>
                  <a:ext uri="{FF2B5EF4-FFF2-40B4-BE49-F238E27FC236}">
                    <a16:creationId xmlns:a16="http://schemas.microsoft.com/office/drawing/2014/main" id="{123D47EE-550F-43C5-9613-ADEBEF136F3F}"/>
                  </a:ext>
                </a:extLst>
              </p:cNvPr>
              <p:cNvSpPr txBox="1"/>
              <p:nvPr/>
            </p:nvSpPr>
            <p:spPr>
              <a:xfrm>
                <a:off x="2656575" y="3796962"/>
                <a:ext cx="1884600" cy="809887"/>
              </a:xfrm>
              <a:prstGeom prst="rect">
                <a:avLst/>
              </a:prstGeom>
              <a:noFill/>
              <a:ln>
                <a:noFill/>
              </a:ln>
            </p:spPr>
            <p:txBody>
              <a:bodyPr spcFirstLastPara="1" wrap="square" lIns="99044" tIns="99044" rIns="99044" bIns="99044" anchor="ctr" anchorCtr="0">
                <a:noAutofit/>
              </a:bodyPr>
              <a:lstStyle/>
              <a:p>
                <a:pPr algn="ctr"/>
                <a:r>
                  <a:rPr lang="en-IN" sz="1200" dirty="0">
                    <a:latin typeface="Roboto"/>
                    <a:ea typeface="Roboto"/>
                    <a:cs typeface="Roboto"/>
                    <a:sym typeface="Roboto"/>
                  </a:rPr>
                  <a:t>Facility control </a:t>
                </a:r>
              </a:p>
              <a:p>
                <a:pPr algn="ctr"/>
                <a:r>
                  <a:rPr lang="en-IN" sz="1200" dirty="0">
                    <a:latin typeface="Roboto"/>
                    <a:ea typeface="Roboto"/>
                    <a:cs typeface="Roboto"/>
                    <a:sym typeface="Roboto"/>
                  </a:rPr>
                  <a:t>Ware house; Production; Utilities; Quality control/QA/QC; HR  and HSE</a:t>
                </a:r>
              </a:p>
            </p:txBody>
          </p:sp>
        </p:grpSp>
        <p:grpSp>
          <p:nvGrpSpPr>
            <p:cNvPr id="12" name="Google Shape;123;p16">
              <a:extLst>
                <a:ext uri="{FF2B5EF4-FFF2-40B4-BE49-F238E27FC236}">
                  <a16:creationId xmlns:a16="http://schemas.microsoft.com/office/drawing/2014/main" id="{41B280B3-987D-4968-9372-B28FF12FDD59}"/>
                </a:ext>
              </a:extLst>
            </p:cNvPr>
            <p:cNvGrpSpPr/>
            <p:nvPr/>
          </p:nvGrpSpPr>
          <p:grpSpPr>
            <a:xfrm>
              <a:off x="4140783" y="2087984"/>
              <a:ext cx="2041650" cy="3247805"/>
              <a:chOff x="4602875" y="1333888"/>
              <a:chExt cx="1884600" cy="2997974"/>
            </a:xfrm>
          </p:grpSpPr>
          <p:sp>
            <p:nvSpPr>
              <p:cNvPr id="42" name="Google Shape;124;p16">
                <a:extLst>
                  <a:ext uri="{FF2B5EF4-FFF2-40B4-BE49-F238E27FC236}">
                    <a16:creationId xmlns:a16="http://schemas.microsoft.com/office/drawing/2014/main" id="{C07DA30D-6CCF-40E9-83A6-F1FC7BCBE11E}"/>
                  </a:ext>
                </a:extLst>
              </p:cNvPr>
              <p:cNvSpPr/>
              <p:nvPr/>
            </p:nvSpPr>
            <p:spPr>
              <a:xfrm>
                <a:off x="4953275" y="1333888"/>
                <a:ext cx="1183800" cy="1183800"/>
              </a:xfrm>
              <a:prstGeom prst="ellipse">
                <a:avLst/>
              </a:prstGeom>
              <a:noFill/>
              <a:ln w="9525" cap="flat" cmpd="sng">
                <a:solidFill>
                  <a:srgbClr val="000000"/>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43" name="Google Shape;125;p16">
                <a:extLst>
                  <a:ext uri="{FF2B5EF4-FFF2-40B4-BE49-F238E27FC236}">
                    <a16:creationId xmlns:a16="http://schemas.microsoft.com/office/drawing/2014/main" id="{A9D99206-21EB-4726-AB3E-BFFC7A968D06}"/>
                  </a:ext>
                </a:extLst>
              </p:cNvPr>
              <p:cNvSpPr/>
              <p:nvPr/>
            </p:nvSpPr>
            <p:spPr>
              <a:xfrm>
                <a:off x="5035775" y="1416388"/>
                <a:ext cx="1018800" cy="1018800"/>
              </a:xfrm>
              <a:prstGeom prst="ellipse">
                <a:avLst/>
              </a:prstGeom>
              <a:solidFill>
                <a:schemeClr val="accent3"/>
              </a:solidFill>
              <a:ln>
                <a:noFill/>
              </a:ln>
            </p:spPr>
            <p:txBody>
              <a:bodyPr spcFirstLastPara="1" wrap="square" lIns="99044" tIns="99044" rIns="99044" bIns="99044" anchor="ctr" anchorCtr="0">
                <a:noAutofit/>
              </a:bodyPr>
              <a:lstStyle/>
              <a:p>
                <a:endParaRPr sz="1950"/>
              </a:p>
            </p:txBody>
          </p:sp>
          <p:sp>
            <p:nvSpPr>
              <p:cNvPr id="44" name="Google Shape;126;p16">
                <a:extLst>
                  <a:ext uri="{FF2B5EF4-FFF2-40B4-BE49-F238E27FC236}">
                    <a16:creationId xmlns:a16="http://schemas.microsoft.com/office/drawing/2014/main" id="{28DC44F2-4C88-4B71-ACBF-81D52CC951CA}"/>
                  </a:ext>
                </a:extLst>
              </p:cNvPr>
              <p:cNvSpPr/>
              <p:nvPr/>
            </p:nvSpPr>
            <p:spPr>
              <a:xfrm>
                <a:off x="5462675" y="2583338"/>
                <a:ext cx="165000" cy="165000"/>
              </a:xfrm>
              <a:prstGeom prst="ellipse">
                <a:avLst/>
              </a:prstGeom>
              <a:solidFill>
                <a:schemeClr val="accent3"/>
              </a:solidFill>
              <a:ln>
                <a:noFill/>
              </a:ln>
            </p:spPr>
            <p:txBody>
              <a:bodyPr spcFirstLastPara="1" wrap="square" lIns="99044" tIns="99044" rIns="99044" bIns="99044" anchor="ctr" anchorCtr="0">
                <a:noAutofit/>
              </a:bodyPr>
              <a:lstStyle/>
              <a:p>
                <a:endParaRPr sz="1950"/>
              </a:p>
            </p:txBody>
          </p:sp>
          <p:sp>
            <p:nvSpPr>
              <p:cNvPr id="45" name="Google Shape;127;p16">
                <a:extLst>
                  <a:ext uri="{FF2B5EF4-FFF2-40B4-BE49-F238E27FC236}">
                    <a16:creationId xmlns:a16="http://schemas.microsoft.com/office/drawing/2014/main" id="{75038E79-C844-4182-B30E-12B3583DE489}"/>
                  </a:ext>
                </a:extLst>
              </p:cNvPr>
              <p:cNvSpPr/>
              <p:nvPr/>
            </p:nvSpPr>
            <p:spPr>
              <a:xfrm>
                <a:off x="5496725" y="2813988"/>
                <a:ext cx="96900" cy="96900"/>
              </a:xfrm>
              <a:prstGeom prst="ellipse">
                <a:avLst/>
              </a:prstGeom>
              <a:solidFill>
                <a:schemeClr val="accent3"/>
              </a:solidFill>
              <a:ln>
                <a:noFill/>
              </a:ln>
            </p:spPr>
            <p:txBody>
              <a:bodyPr spcFirstLastPara="1" wrap="square" lIns="99044" tIns="99044" rIns="99044" bIns="99044" anchor="ctr" anchorCtr="0">
                <a:noAutofit/>
              </a:bodyPr>
              <a:lstStyle/>
              <a:p>
                <a:endParaRPr sz="1950"/>
              </a:p>
            </p:txBody>
          </p:sp>
          <p:sp>
            <p:nvSpPr>
              <p:cNvPr id="46" name="Google Shape;128;p16">
                <a:extLst>
                  <a:ext uri="{FF2B5EF4-FFF2-40B4-BE49-F238E27FC236}">
                    <a16:creationId xmlns:a16="http://schemas.microsoft.com/office/drawing/2014/main" id="{17D19F8B-1DE2-4A94-8963-528FC8C46185}"/>
                  </a:ext>
                </a:extLst>
              </p:cNvPr>
              <p:cNvSpPr/>
              <p:nvPr/>
            </p:nvSpPr>
            <p:spPr>
              <a:xfrm>
                <a:off x="5436125" y="2976538"/>
                <a:ext cx="218100" cy="218100"/>
              </a:xfrm>
              <a:prstGeom prst="ellipse">
                <a:avLst/>
              </a:prstGeom>
              <a:solidFill>
                <a:schemeClr val="lt1"/>
              </a:solidFill>
              <a:ln w="9525" cap="flat" cmpd="sng">
                <a:solidFill>
                  <a:srgbClr val="434343"/>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47" name="Google Shape;129;p16">
                <a:extLst>
                  <a:ext uri="{FF2B5EF4-FFF2-40B4-BE49-F238E27FC236}">
                    <a16:creationId xmlns:a16="http://schemas.microsoft.com/office/drawing/2014/main" id="{21166B33-47FC-469F-9B43-7F5A8D1394DD}"/>
                  </a:ext>
                </a:extLst>
              </p:cNvPr>
              <p:cNvSpPr/>
              <p:nvPr/>
            </p:nvSpPr>
            <p:spPr>
              <a:xfrm>
                <a:off x="5471075" y="3011383"/>
                <a:ext cx="148200" cy="148200"/>
              </a:xfrm>
              <a:prstGeom prst="ellipse">
                <a:avLst/>
              </a:prstGeom>
              <a:solidFill>
                <a:schemeClr val="accent3"/>
              </a:solidFill>
              <a:ln>
                <a:noFill/>
              </a:ln>
            </p:spPr>
            <p:txBody>
              <a:bodyPr spcFirstLastPara="1" wrap="square" lIns="99044" tIns="99044" rIns="99044" bIns="99044" anchor="ctr" anchorCtr="0">
                <a:noAutofit/>
              </a:bodyPr>
              <a:lstStyle/>
              <a:p>
                <a:endParaRPr sz="1950"/>
              </a:p>
            </p:txBody>
          </p:sp>
          <p:sp>
            <p:nvSpPr>
              <p:cNvPr id="48" name="Google Shape;130;p16">
                <a:extLst>
                  <a:ext uri="{FF2B5EF4-FFF2-40B4-BE49-F238E27FC236}">
                    <a16:creationId xmlns:a16="http://schemas.microsoft.com/office/drawing/2014/main" id="{8CE2F1E8-3697-4DB9-B08F-BA78B2A1D08C}"/>
                  </a:ext>
                </a:extLst>
              </p:cNvPr>
              <p:cNvSpPr txBox="1"/>
              <p:nvPr/>
            </p:nvSpPr>
            <p:spPr>
              <a:xfrm>
                <a:off x="4602875" y="3393419"/>
                <a:ext cx="1884600" cy="429600"/>
              </a:xfrm>
              <a:prstGeom prst="rect">
                <a:avLst/>
              </a:prstGeom>
              <a:noFill/>
              <a:ln>
                <a:noFill/>
              </a:ln>
            </p:spPr>
            <p:txBody>
              <a:bodyPr spcFirstLastPara="1" wrap="square" lIns="99044" tIns="99044" rIns="99044" bIns="99044" anchor="ctr" anchorCtr="0">
                <a:noAutofit/>
              </a:bodyPr>
              <a:lstStyle/>
              <a:p>
                <a:pPr algn="ctr"/>
                <a:r>
                  <a:rPr lang="en-IN" sz="1842" dirty="0">
                    <a:solidFill>
                      <a:schemeClr val="accent3"/>
                    </a:solidFill>
                    <a:latin typeface="Fira Sans Extra Condensed Medium"/>
                    <a:ea typeface="Fira Sans Extra Condensed Medium"/>
                    <a:cs typeface="Fira Sans Extra Condensed Medium"/>
                    <a:sym typeface="Fira Sans Extra Condensed Medium"/>
                  </a:rPr>
                  <a:t>People</a:t>
                </a:r>
                <a:endParaRPr sz="1842" dirty="0">
                  <a:solidFill>
                    <a:schemeClr val="accent3"/>
                  </a:solidFill>
                  <a:latin typeface="Fira Sans Extra Condensed Medium"/>
                  <a:ea typeface="Fira Sans Extra Condensed Medium"/>
                  <a:cs typeface="Fira Sans Extra Condensed Medium"/>
                  <a:sym typeface="Fira Sans Extra Condensed Medium"/>
                </a:endParaRPr>
              </a:p>
            </p:txBody>
          </p:sp>
          <p:sp>
            <p:nvSpPr>
              <p:cNvPr id="49" name="Google Shape;131;p16">
                <a:extLst>
                  <a:ext uri="{FF2B5EF4-FFF2-40B4-BE49-F238E27FC236}">
                    <a16:creationId xmlns:a16="http://schemas.microsoft.com/office/drawing/2014/main" id="{F477A18C-4FE1-4090-A090-7EE5241CD36A}"/>
                  </a:ext>
                </a:extLst>
              </p:cNvPr>
              <p:cNvSpPr txBox="1"/>
              <p:nvPr/>
            </p:nvSpPr>
            <p:spPr>
              <a:xfrm>
                <a:off x="4602875" y="3796962"/>
                <a:ext cx="1884600" cy="534900"/>
              </a:xfrm>
              <a:prstGeom prst="rect">
                <a:avLst/>
              </a:prstGeom>
              <a:noFill/>
              <a:ln>
                <a:noFill/>
              </a:ln>
            </p:spPr>
            <p:txBody>
              <a:bodyPr spcFirstLastPara="1" wrap="square" lIns="99044" tIns="99044" rIns="99044" bIns="99044" anchor="ctr" anchorCtr="0">
                <a:noAutofit/>
              </a:bodyPr>
              <a:lstStyle/>
              <a:p>
                <a:pPr algn="ctr"/>
                <a:r>
                  <a:rPr lang="en-IN" sz="1300" dirty="0">
                    <a:latin typeface="Roboto"/>
                    <a:ea typeface="Roboto"/>
                    <a:cs typeface="Roboto"/>
                    <a:sym typeface="Roboto"/>
                  </a:rPr>
                  <a:t>All associate with Product : site Organogram QMS </a:t>
                </a:r>
                <a:endParaRPr sz="1300" dirty="0">
                  <a:latin typeface="Roboto"/>
                  <a:ea typeface="Roboto"/>
                  <a:cs typeface="Roboto"/>
                  <a:sym typeface="Roboto"/>
                </a:endParaRPr>
              </a:p>
            </p:txBody>
          </p:sp>
        </p:grpSp>
        <p:sp>
          <p:nvSpPr>
            <p:cNvPr id="13" name="Google Shape;132;p16">
              <a:extLst>
                <a:ext uri="{FF2B5EF4-FFF2-40B4-BE49-F238E27FC236}">
                  <a16:creationId xmlns:a16="http://schemas.microsoft.com/office/drawing/2014/main" id="{D0D9BB95-71BC-42B9-9016-4C1E20A08E0B}"/>
                </a:ext>
              </a:extLst>
            </p:cNvPr>
            <p:cNvSpPr/>
            <p:nvPr/>
          </p:nvSpPr>
          <p:spPr>
            <a:xfrm>
              <a:off x="663669" y="2449454"/>
              <a:ext cx="561913" cy="559536"/>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FFFFFF"/>
            </a:solidFill>
            <a:ln>
              <a:noFill/>
            </a:ln>
          </p:spPr>
          <p:txBody>
            <a:bodyPr spcFirstLastPara="1" wrap="square" lIns="99044" tIns="99044" rIns="99044" bIns="99044" anchor="ctr" anchorCtr="0">
              <a:noAutofit/>
            </a:bodyPr>
            <a:lstStyle/>
            <a:p>
              <a:endParaRPr sz="1950" dirty="0"/>
            </a:p>
          </p:txBody>
        </p:sp>
        <p:grpSp>
          <p:nvGrpSpPr>
            <p:cNvPr id="14" name="Google Shape;133;p16">
              <a:extLst>
                <a:ext uri="{FF2B5EF4-FFF2-40B4-BE49-F238E27FC236}">
                  <a16:creationId xmlns:a16="http://schemas.microsoft.com/office/drawing/2014/main" id="{D7BB8726-A843-4EC2-A8B4-7B428FCAB846}"/>
                </a:ext>
              </a:extLst>
            </p:cNvPr>
            <p:cNvGrpSpPr/>
            <p:nvPr/>
          </p:nvGrpSpPr>
          <p:grpSpPr>
            <a:xfrm>
              <a:off x="4909855" y="2458009"/>
              <a:ext cx="503505" cy="542423"/>
              <a:chOff x="6896644" y="3216007"/>
              <a:chExt cx="322917" cy="347876"/>
            </a:xfrm>
          </p:grpSpPr>
          <p:sp>
            <p:nvSpPr>
              <p:cNvPr id="35" name="Google Shape;134;p16">
                <a:extLst>
                  <a:ext uri="{FF2B5EF4-FFF2-40B4-BE49-F238E27FC236}">
                    <a16:creationId xmlns:a16="http://schemas.microsoft.com/office/drawing/2014/main" id="{A6667F5F-0D80-41F6-8190-131D5EAF2C10}"/>
                  </a:ext>
                </a:extLst>
              </p:cNvPr>
              <p:cNvSpPr/>
              <p:nvPr/>
            </p:nvSpPr>
            <p:spPr>
              <a:xfrm>
                <a:off x="6896644" y="3216007"/>
                <a:ext cx="301387" cy="347876"/>
              </a:xfrm>
              <a:custGeom>
                <a:avLst/>
                <a:gdLst/>
                <a:ahLst/>
                <a:cxnLst/>
                <a:rect l="l" t="t" r="r" b="b"/>
                <a:pathLst>
                  <a:path w="9491" h="10955" extrusionOk="0">
                    <a:moveTo>
                      <a:pt x="5192" y="382"/>
                    </a:moveTo>
                    <a:lnTo>
                      <a:pt x="6490" y="1679"/>
                    </a:lnTo>
                    <a:lnTo>
                      <a:pt x="3906" y="1679"/>
                    </a:lnTo>
                    <a:lnTo>
                      <a:pt x="5192" y="382"/>
                    </a:lnTo>
                    <a:close/>
                    <a:moveTo>
                      <a:pt x="5186" y="1"/>
                    </a:moveTo>
                    <a:cubicBezTo>
                      <a:pt x="5144" y="1"/>
                      <a:pt x="5103" y="13"/>
                      <a:pt x="5073" y="36"/>
                    </a:cubicBezTo>
                    <a:lnTo>
                      <a:pt x="3442" y="1679"/>
                    </a:lnTo>
                    <a:lnTo>
                      <a:pt x="870" y="1679"/>
                    </a:lnTo>
                    <a:cubicBezTo>
                      <a:pt x="775" y="1679"/>
                      <a:pt x="703" y="1751"/>
                      <a:pt x="703" y="1846"/>
                    </a:cubicBezTo>
                    <a:lnTo>
                      <a:pt x="703" y="4501"/>
                    </a:lnTo>
                    <a:lnTo>
                      <a:pt x="168" y="4501"/>
                    </a:lnTo>
                    <a:cubicBezTo>
                      <a:pt x="72" y="4501"/>
                      <a:pt x="1" y="4585"/>
                      <a:pt x="1" y="4668"/>
                    </a:cubicBezTo>
                    <a:lnTo>
                      <a:pt x="1" y="10788"/>
                    </a:lnTo>
                    <a:cubicBezTo>
                      <a:pt x="1" y="10883"/>
                      <a:pt x="72" y="10954"/>
                      <a:pt x="168" y="10954"/>
                    </a:cubicBezTo>
                    <a:lnTo>
                      <a:pt x="1846" y="10954"/>
                    </a:lnTo>
                    <a:cubicBezTo>
                      <a:pt x="1942" y="10954"/>
                      <a:pt x="2013" y="10883"/>
                      <a:pt x="2013" y="10788"/>
                    </a:cubicBezTo>
                    <a:cubicBezTo>
                      <a:pt x="2013" y="10704"/>
                      <a:pt x="1942" y="10621"/>
                      <a:pt x="1846" y="10621"/>
                    </a:cubicBezTo>
                    <a:lnTo>
                      <a:pt x="334" y="10621"/>
                    </a:lnTo>
                    <a:lnTo>
                      <a:pt x="334" y="4989"/>
                    </a:lnTo>
                    <a:lnTo>
                      <a:pt x="1084" y="5537"/>
                    </a:lnTo>
                    <a:cubicBezTo>
                      <a:pt x="1115" y="5554"/>
                      <a:pt x="1147" y="5562"/>
                      <a:pt x="1178" y="5562"/>
                    </a:cubicBezTo>
                    <a:cubicBezTo>
                      <a:pt x="1231" y="5562"/>
                      <a:pt x="1280" y="5539"/>
                      <a:pt x="1311" y="5501"/>
                    </a:cubicBezTo>
                    <a:cubicBezTo>
                      <a:pt x="1358" y="5430"/>
                      <a:pt x="1346" y="5323"/>
                      <a:pt x="1275" y="5287"/>
                    </a:cubicBezTo>
                    <a:lnTo>
                      <a:pt x="1049" y="5096"/>
                    </a:lnTo>
                    <a:lnTo>
                      <a:pt x="1049" y="4692"/>
                    </a:lnTo>
                    <a:lnTo>
                      <a:pt x="1049" y="4668"/>
                    </a:lnTo>
                    <a:lnTo>
                      <a:pt x="1049" y="4656"/>
                    </a:lnTo>
                    <a:lnTo>
                      <a:pt x="1049" y="2013"/>
                    </a:lnTo>
                    <a:lnTo>
                      <a:pt x="9169" y="2013"/>
                    </a:lnTo>
                    <a:lnTo>
                      <a:pt x="9169" y="2620"/>
                    </a:lnTo>
                    <a:cubicBezTo>
                      <a:pt x="9169" y="2703"/>
                      <a:pt x="9240" y="2787"/>
                      <a:pt x="9335" y="2787"/>
                    </a:cubicBezTo>
                    <a:cubicBezTo>
                      <a:pt x="9419" y="2787"/>
                      <a:pt x="9490" y="2703"/>
                      <a:pt x="9490" y="2620"/>
                    </a:cubicBezTo>
                    <a:lnTo>
                      <a:pt x="9490" y="1846"/>
                    </a:lnTo>
                    <a:cubicBezTo>
                      <a:pt x="9466" y="1751"/>
                      <a:pt x="9395" y="1679"/>
                      <a:pt x="9300" y="1679"/>
                    </a:cubicBezTo>
                    <a:lnTo>
                      <a:pt x="6930" y="1679"/>
                    </a:lnTo>
                    <a:lnTo>
                      <a:pt x="5299" y="36"/>
                    </a:lnTo>
                    <a:cubicBezTo>
                      <a:pt x="5269" y="13"/>
                      <a:pt x="5228" y="1"/>
                      <a:pt x="5186" y="1"/>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6" name="Google Shape;135;p16">
                <a:extLst>
                  <a:ext uri="{FF2B5EF4-FFF2-40B4-BE49-F238E27FC236}">
                    <a16:creationId xmlns:a16="http://schemas.microsoft.com/office/drawing/2014/main" id="{C830762A-BEAF-4EFF-BB36-99F9B3ECD3E4}"/>
                  </a:ext>
                </a:extLst>
              </p:cNvPr>
              <p:cNvSpPr/>
              <p:nvPr/>
            </p:nvSpPr>
            <p:spPr>
              <a:xfrm>
                <a:off x="6954883" y="3306382"/>
                <a:ext cx="42012" cy="41980"/>
              </a:xfrm>
              <a:custGeom>
                <a:avLst/>
                <a:gdLst/>
                <a:ahLst/>
                <a:cxnLst/>
                <a:rect l="l" t="t" r="r" b="b"/>
                <a:pathLst>
                  <a:path w="1323" h="1322" extrusionOk="0">
                    <a:moveTo>
                      <a:pt x="1001" y="322"/>
                    </a:moveTo>
                    <a:lnTo>
                      <a:pt x="1001" y="988"/>
                    </a:lnTo>
                    <a:lnTo>
                      <a:pt x="322" y="988"/>
                    </a:lnTo>
                    <a:lnTo>
                      <a:pt x="322" y="322"/>
                    </a:lnTo>
                    <a:close/>
                    <a:moveTo>
                      <a:pt x="167" y="0"/>
                    </a:moveTo>
                    <a:cubicBezTo>
                      <a:pt x="72" y="0"/>
                      <a:pt x="1" y="72"/>
                      <a:pt x="1" y="155"/>
                    </a:cubicBezTo>
                    <a:lnTo>
                      <a:pt x="1" y="1155"/>
                    </a:lnTo>
                    <a:cubicBezTo>
                      <a:pt x="1" y="1250"/>
                      <a:pt x="72" y="1322"/>
                      <a:pt x="167" y="1322"/>
                    </a:cubicBezTo>
                    <a:lnTo>
                      <a:pt x="1155" y="1322"/>
                    </a:lnTo>
                    <a:cubicBezTo>
                      <a:pt x="1251" y="1322"/>
                      <a:pt x="1322" y="1250"/>
                      <a:pt x="1322" y="1155"/>
                    </a:cubicBezTo>
                    <a:lnTo>
                      <a:pt x="1322" y="155"/>
                    </a:lnTo>
                    <a:cubicBezTo>
                      <a:pt x="1310" y="72"/>
                      <a:pt x="1239" y="0"/>
                      <a:pt x="1155"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7" name="Google Shape;136;p16">
                <a:extLst>
                  <a:ext uri="{FF2B5EF4-FFF2-40B4-BE49-F238E27FC236}">
                    <a16:creationId xmlns:a16="http://schemas.microsoft.com/office/drawing/2014/main" id="{6199E1B6-18F0-4BD2-9AC3-AAA48FABFB8C}"/>
                  </a:ext>
                </a:extLst>
              </p:cNvPr>
              <p:cNvSpPr/>
              <p:nvPr/>
            </p:nvSpPr>
            <p:spPr>
              <a:xfrm>
                <a:off x="7013122" y="3306382"/>
                <a:ext cx="32168" cy="10225"/>
              </a:xfrm>
              <a:custGeom>
                <a:avLst/>
                <a:gdLst/>
                <a:ahLst/>
                <a:cxnLst/>
                <a:rect l="l" t="t" r="r" b="b"/>
                <a:pathLst>
                  <a:path w="1013" h="322" extrusionOk="0">
                    <a:moveTo>
                      <a:pt x="155" y="0"/>
                    </a:moveTo>
                    <a:cubicBezTo>
                      <a:pt x="72" y="0"/>
                      <a:pt x="0" y="72"/>
                      <a:pt x="0" y="155"/>
                    </a:cubicBezTo>
                    <a:cubicBezTo>
                      <a:pt x="0" y="250"/>
                      <a:pt x="72" y="322"/>
                      <a:pt x="155" y="322"/>
                    </a:cubicBezTo>
                    <a:lnTo>
                      <a:pt x="845" y="322"/>
                    </a:lnTo>
                    <a:cubicBezTo>
                      <a:pt x="929" y="322"/>
                      <a:pt x="1012" y="250"/>
                      <a:pt x="1012" y="155"/>
                    </a:cubicBezTo>
                    <a:cubicBezTo>
                      <a:pt x="1012" y="72"/>
                      <a:pt x="929" y="0"/>
                      <a:pt x="845"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8" name="Google Shape;137;p16">
                <a:extLst>
                  <a:ext uri="{FF2B5EF4-FFF2-40B4-BE49-F238E27FC236}">
                    <a16:creationId xmlns:a16="http://schemas.microsoft.com/office/drawing/2014/main" id="{7C69DEB1-6888-471A-9E6C-61C83DC67D35}"/>
                  </a:ext>
                </a:extLst>
              </p:cNvPr>
              <p:cNvSpPr/>
              <p:nvPr/>
            </p:nvSpPr>
            <p:spPr>
              <a:xfrm>
                <a:off x="7013471" y="3333596"/>
                <a:ext cx="105903" cy="10606"/>
              </a:xfrm>
              <a:custGeom>
                <a:avLst/>
                <a:gdLst/>
                <a:ahLst/>
                <a:cxnLst/>
                <a:rect l="l" t="t" r="r" b="b"/>
                <a:pathLst>
                  <a:path w="3335" h="334" extrusionOk="0">
                    <a:moveTo>
                      <a:pt x="168" y="0"/>
                    </a:moveTo>
                    <a:cubicBezTo>
                      <a:pt x="72" y="0"/>
                      <a:pt x="1" y="72"/>
                      <a:pt x="1" y="167"/>
                    </a:cubicBezTo>
                    <a:cubicBezTo>
                      <a:pt x="1" y="250"/>
                      <a:pt x="72" y="334"/>
                      <a:pt x="168" y="334"/>
                    </a:cubicBezTo>
                    <a:lnTo>
                      <a:pt x="3168" y="334"/>
                    </a:lnTo>
                    <a:cubicBezTo>
                      <a:pt x="3251" y="334"/>
                      <a:pt x="3335" y="250"/>
                      <a:pt x="3335" y="167"/>
                    </a:cubicBezTo>
                    <a:cubicBezTo>
                      <a:pt x="3335" y="60"/>
                      <a:pt x="3263" y="0"/>
                      <a:pt x="3168"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9" name="Google Shape;138;p16">
                <a:extLst>
                  <a:ext uri="{FF2B5EF4-FFF2-40B4-BE49-F238E27FC236}">
                    <a16:creationId xmlns:a16="http://schemas.microsoft.com/office/drawing/2014/main" id="{4AE97A6C-47F0-441A-890C-AA3D76469094}"/>
                  </a:ext>
                </a:extLst>
              </p:cNvPr>
              <p:cNvSpPr/>
              <p:nvPr/>
            </p:nvSpPr>
            <p:spPr>
              <a:xfrm>
                <a:off x="6966982" y="3375576"/>
                <a:ext cx="63923" cy="10606"/>
              </a:xfrm>
              <a:custGeom>
                <a:avLst/>
                <a:gdLst/>
                <a:ahLst/>
                <a:cxnLst/>
                <a:rect l="l" t="t" r="r" b="b"/>
                <a:pathLst>
                  <a:path w="2013" h="334" extrusionOk="0">
                    <a:moveTo>
                      <a:pt x="167" y="0"/>
                    </a:moveTo>
                    <a:cubicBezTo>
                      <a:pt x="84" y="0"/>
                      <a:pt x="1" y="71"/>
                      <a:pt x="1" y="167"/>
                    </a:cubicBezTo>
                    <a:cubicBezTo>
                      <a:pt x="1" y="262"/>
                      <a:pt x="84" y="333"/>
                      <a:pt x="167" y="333"/>
                    </a:cubicBezTo>
                    <a:lnTo>
                      <a:pt x="1846" y="333"/>
                    </a:lnTo>
                    <a:cubicBezTo>
                      <a:pt x="1941" y="333"/>
                      <a:pt x="2013" y="262"/>
                      <a:pt x="2013" y="167"/>
                    </a:cubicBezTo>
                    <a:cubicBezTo>
                      <a:pt x="2013" y="71"/>
                      <a:pt x="1941" y="0"/>
                      <a:pt x="1846"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40" name="Google Shape;139;p16">
                <a:extLst>
                  <a:ext uri="{FF2B5EF4-FFF2-40B4-BE49-F238E27FC236}">
                    <a16:creationId xmlns:a16="http://schemas.microsoft.com/office/drawing/2014/main" id="{7E41B578-FFDE-46D9-9E8E-CAEDCED2C461}"/>
                  </a:ext>
                </a:extLst>
              </p:cNvPr>
              <p:cNvSpPr/>
              <p:nvPr/>
            </p:nvSpPr>
            <p:spPr>
              <a:xfrm>
                <a:off x="6928781" y="3524157"/>
                <a:ext cx="52237" cy="10225"/>
              </a:xfrm>
              <a:custGeom>
                <a:avLst/>
                <a:gdLst/>
                <a:ahLst/>
                <a:cxnLst/>
                <a:rect l="l" t="t" r="r" b="b"/>
                <a:pathLst>
                  <a:path w="1645" h="322" extrusionOk="0">
                    <a:moveTo>
                      <a:pt x="168" y="0"/>
                    </a:moveTo>
                    <a:cubicBezTo>
                      <a:pt x="72" y="0"/>
                      <a:pt x="1" y="72"/>
                      <a:pt x="1" y="167"/>
                    </a:cubicBezTo>
                    <a:cubicBezTo>
                      <a:pt x="1" y="250"/>
                      <a:pt x="72" y="322"/>
                      <a:pt x="168" y="322"/>
                    </a:cubicBezTo>
                    <a:lnTo>
                      <a:pt x="1477" y="322"/>
                    </a:lnTo>
                    <a:cubicBezTo>
                      <a:pt x="1561" y="322"/>
                      <a:pt x="1644" y="250"/>
                      <a:pt x="1644" y="167"/>
                    </a:cubicBezTo>
                    <a:cubicBezTo>
                      <a:pt x="1644" y="72"/>
                      <a:pt x="1561" y="0"/>
                      <a:pt x="1477"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41" name="Google Shape;140;p16">
                <a:extLst>
                  <a:ext uri="{FF2B5EF4-FFF2-40B4-BE49-F238E27FC236}">
                    <a16:creationId xmlns:a16="http://schemas.microsoft.com/office/drawing/2014/main" id="{F807631A-1F56-40A6-A769-7A02188A10A2}"/>
                  </a:ext>
                </a:extLst>
              </p:cNvPr>
              <p:cNvSpPr/>
              <p:nvPr/>
            </p:nvSpPr>
            <p:spPr>
              <a:xfrm>
                <a:off x="6945420" y="3314701"/>
                <a:ext cx="274141" cy="248800"/>
              </a:xfrm>
              <a:custGeom>
                <a:avLst/>
                <a:gdLst/>
                <a:ahLst/>
                <a:cxnLst/>
                <a:rect l="l" t="t" r="r" b="b"/>
                <a:pathLst>
                  <a:path w="8633" h="7835" extrusionOk="0">
                    <a:moveTo>
                      <a:pt x="5835" y="3274"/>
                    </a:moveTo>
                    <a:lnTo>
                      <a:pt x="5323" y="3632"/>
                    </a:lnTo>
                    <a:lnTo>
                      <a:pt x="1787" y="3632"/>
                    </a:lnTo>
                    <a:lnTo>
                      <a:pt x="1275" y="3274"/>
                    </a:lnTo>
                    <a:close/>
                    <a:moveTo>
                      <a:pt x="4882" y="3965"/>
                    </a:moveTo>
                    <a:lnTo>
                      <a:pt x="4370" y="4322"/>
                    </a:lnTo>
                    <a:lnTo>
                      <a:pt x="2739" y="4322"/>
                    </a:lnTo>
                    <a:lnTo>
                      <a:pt x="2227" y="3965"/>
                    </a:lnTo>
                    <a:close/>
                    <a:moveTo>
                      <a:pt x="3930" y="4632"/>
                    </a:moveTo>
                    <a:lnTo>
                      <a:pt x="3561" y="4894"/>
                    </a:lnTo>
                    <a:lnTo>
                      <a:pt x="3180" y="4632"/>
                    </a:lnTo>
                    <a:close/>
                    <a:moveTo>
                      <a:pt x="7752" y="0"/>
                    </a:moveTo>
                    <a:cubicBezTo>
                      <a:pt x="7668" y="0"/>
                      <a:pt x="7585" y="72"/>
                      <a:pt x="7585" y="167"/>
                    </a:cubicBezTo>
                    <a:lnTo>
                      <a:pt x="7585" y="1560"/>
                    </a:lnTo>
                    <a:lnTo>
                      <a:pt x="7585" y="1977"/>
                    </a:lnTo>
                    <a:lnTo>
                      <a:pt x="6252" y="2929"/>
                    </a:lnTo>
                    <a:lnTo>
                      <a:pt x="799" y="2929"/>
                    </a:lnTo>
                    <a:lnTo>
                      <a:pt x="263" y="2548"/>
                    </a:lnTo>
                    <a:cubicBezTo>
                      <a:pt x="233" y="2528"/>
                      <a:pt x="197" y="2519"/>
                      <a:pt x="162" y="2519"/>
                    </a:cubicBezTo>
                    <a:cubicBezTo>
                      <a:pt x="114" y="2519"/>
                      <a:pt x="69" y="2537"/>
                      <a:pt x="48" y="2572"/>
                    </a:cubicBezTo>
                    <a:cubicBezTo>
                      <a:pt x="1" y="2643"/>
                      <a:pt x="13" y="2750"/>
                      <a:pt x="72" y="2798"/>
                    </a:cubicBezTo>
                    <a:lnTo>
                      <a:pt x="3442" y="5215"/>
                    </a:lnTo>
                    <a:cubicBezTo>
                      <a:pt x="3472" y="5233"/>
                      <a:pt x="3504" y="5242"/>
                      <a:pt x="3537" y="5242"/>
                    </a:cubicBezTo>
                    <a:cubicBezTo>
                      <a:pt x="3570" y="5242"/>
                      <a:pt x="3602" y="5233"/>
                      <a:pt x="3632" y="5215"/>
                    </a:cubicBezTo>
                    <a:lnTo>
                      <a:pt x="8300" y="1858"/>
                    </a:lnTo>
                    <a:lnTo>
                      <a:pt x="8300" y="7501"/>
                    </a:lnTo>
                    <a:lnTo>
                      <a:pt x="941" y="7501"/>
                    </a:lnTo>
                    <a:cubicBezTo>
                      <a:pt x="846" y="7501"/>
                      <a:pt x="775" y="7572"/>
                      <a:pt x="775" y="7668"/>
                    </a:cubicBezTo>
                    <a:cubicBezTo>
                      <a:pt x="775" y="7751"/>
                      <a:pt x="846" y="7834"/>
                      <a:pt x="941" y="7834"/>
                    </a:cubicBezTo>
                    <a:lnTo>
                      <a:pt x="8454" y="7834"/>
                    </a:lnTo>
                    <a:cubicBezTo>
                      <a:pt x="8538" y="7834"/>
                      <a:pt x="8621" y="7751"/>
                      <a:pt x="8621" y="7668"/>
                    </a:cubicBezTo>
                    <a:lnTo>
                      <a:pt x="8621" y="1548"/>
                    </a:lnTo>
                    <a:cubicBezTo>
                      <a:pt x="8625" y="1552"/>
                      <a:pt x="8628" y="1553"/>
                      <a:pt x="8629" y="1553"/>
                    </a:cubicBezTo>
                    <a:cubicBezTo>
                      <a:pt x="8633" y="1553"/>
                      <a:pt x="8633" y="1548"/>
                      <a:pt x="8633" y="1548"/>
                    </a:cubicBezTo>
                    <a:cubicBezTo>
                      <a:pt x="8621" y="1477"/>
                      <a:pt x="8561" y="1417"/>
                      <a:pt x="8466" y="1417"/>
                    </a:cubicBezTo>
                    <a:lnTo>
                      <a:pt x="7919" y="1417"/>
                    </a:lnTo>
                    <a:lnTo>
                      <a:pt x="7919" y="167"/>
                    </a:lnTo>
                    <a:cubicBezTo>
                      <a:pt x="7919" y="72"/>
                      <a:pt x="7847" y="0"/>
                      <a:pt x="7752"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grpSp>
        <p:grpSp>
          <p:nvGrpSpPr>
            <p:cNvPr id="15" name="Google Shape;141;p16">
              <a:extLst>
                <a:ext uri="{FF2B5EF4-FFF2-40B4-BE49-F238E27FC236}">
                  <a16:creationId xmlns:a16="http://schemas.microsoft.com/office/drawing/2014/main" id="{EAC1DE89-0CD0-430E-97FE-CAE08925D9C8}"/>
                </a:ext>
              </a:extLst>
            </p:cNvPr>
            <p:cNvGrpSpPr/>
            <p:nvPr/>
          </p:nvGrpSpPr>
          <p:grpSpPr>
            <a:xfrm>
              <a:off x="2760986" y="2437635"/>
              <a:ext cx="584262" cy="583172"/>
              <a:chOff x="1421638" y="4125629"/>
              <a:chExt cx="374709" cy="374010"/>
            </a:xfrm>
          </p:grpSpPr>
          <p:sp>
            <p:nvSpPr>
              <p:cNvPr id="33" name="Google Shape;142;p16">
                <a:extLst>
                  <a:ext uri="{FF2B5EF4-FFF2-40B4-BE49-F238E27FC236}">
                    <a16:creationId xmlns:a16="http://schemas.microsoft.com/office/drawing/2014/main" id="{5CE0992C-4B86-4263-92CC-C31CC06E0DAC}"/>
                  </a:ext>
                </a:extLst>
              </p:cNvPr>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4" name="Google Shape;143;p16">
                <a:extLst>
                  <a:ext uri="{FF2B5EF4-FFF2-40B4-BE49-F238E27FC236}">
                    <a16:creationId xmlns:a16="http://schemas.microsoft.com/office/drawing/2014/main" id="{2456A690-A974-4651-902F-6B7B29833790}"/>
                  </a:ext>
                </a:extLst>
              </p:cNvPr>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grpSp>
        <p:grpSp>
          <p:nvGrpSpPr>
            <p:cNvPr id="16" name="Google Shape;144;p16">
              <a:extLst>
                <a:ext uri="{FF2B5EF4-FFF2-40B4-BE49-F238E27FC236}">
                  <a16:creationId xmlns:a16="http://schemas.microsoft.com/office/drawing/2014/main" id="{A2BE8F1E-DBE6-47C5-A12E-7BD8505AD066}"/>
                </a:ext>
              </a:extLst>
            </p:cNvPr>
            <p:cNvGrpSpPr/>
            <p:nvPr/>
          </p:nvGrpSpPr>
          <p:grpSpPr>
            <a:xfrm>
              <a:off x="6973835" y="2455361"/>
              <a:ext cx="592530" cy="547720"/>
              <a:chOff x="7384751" y="4147984"/>
              <a:chExt cx="380012" cy="351274"/>
            </a:xfrm>
          </p:grpSpPr>
          <p:sp>
            <p:nvSpPr>
              <p:cNvPr id="28" name="Google Shape;145;p16">
                <a:extLst>
                  <a:ext uri="{FF2B5EF4-FFF2-40B4-BE49-F238E27FC236}">
                    <a16:creationId xmlns:a16="http://schemas.microsoft.com/office/drawing/2014/main" id="{3F6E44FE-9FDE-403D-85C2-EB3359F62252}"/>
                  </a:ext>
                </a:extLst>
              </p:cNvPr>
              <p:cNvSpPr/>
              <p:nvPr/>
            </p:nvSpPr>
            <p:spPr>
              <a:xfrm>
                <a:off x="7385513" y="4225879"/>
                <a:ext cx="379250" cy="273379"/>
              </a:xfrm>
              <a:custGeom>
                <a:avLst/>
                <a:gdLst/>
                <a:ahLst/>
                <a:cxnLst/>
                <a:rect l="l" t="t" r="r" b="b"/>
                <a:pathLst>
                  <a:path w="11943" h="8609" extrusionOk="0">
                    <a:moveTo>
                      <a:pt x="11740" y="0"/>
                    </a:moveTo>
                    <a:cubicBezTo>
                      <a:pt x="11645" y="0"/>
                      <a:pt x="11562" y="72"/>
                      <a:pt x="11562" y="179"/>
                    </a:cubicBezTo>
                    <a:lnTo>
                      <a:pt x="11562" y="2667"/>
                    </a:lnTo>
                    <a:cubicBezTo>
                      <a:pt x="11562" y="3393"/>
                      <a:pt x="10966" y="3989"/>
                      <a:pt x="10240" y="3989"/>
                    </a:cubicBezTo>
                    <a:lnTo>
                      <a:pt x="9085" y="3989"/>
                    </a:lnTo>
                    <a:cubicBezTo>
                      <a:pt x="8954" y="3989"/>
                      <a:pt x="8823" y="4084"/>
                      <a:pt x="8776" y="4203"/>
                    </a:cubicBezTo>
                    <a:cubicBezTo>
                      <a:pt x="8573" y="4703"/>
                      <a:pt x="8549" y="5167"/>
                      <a:pt x="8752" y="5537"/>
                    </a:cubicBezTo>
                    <a:cubicBezTo>
                      <a:pt x="8823" y="5703"/>
                      <a:pt x="8942" y="5834"/>
                      <a:pt x="9049" y="5941"/>
                    </a:cubicBezTo>
                    <a:cubicBezTo>
                      <a:pt x="8752" y="5929"/>
                      <a:pt x="8514" y="5822"/>
                      <a:pt x="8359" y="5656"/>
                    </a:cubicBezTo>
                    <a:cubicBezTo>
                      <a:pt x="8240" y="5537"/>
                      <a:pt x="7978" y="5167"/>
                      <a:pt x="8073" y="4358"/>
                    </a:cubicBezTo>
                    <a:cubicBezTo>
                      <a:pt x="8109" y="4155"/>
                      <a:pt x="7942" y="3977"/>
                      <a:pt x="7740" y="3977"/>
                    </a:cubicBezTo>
                    <a:lnTo>
                      <a:pt x="5954" y="3977"/>
                    </a:lnTo>
                    <a:cubicBezTo>
                      <a:pt x="5859" y="3977"/>
                      <a:pt x="5775" y="4048"/>
                      <a:pt x="5775" y="4155"/>
                    </a:cubicBezTo>
                    <a:cubicBezTo>
                      <a:pt x="5775" y="4263"/>
                      <a:pt x="5847" y="4334"/>
                      <a:pt x="5954" y="4334"/>
                    </a:cubicBezTo>
                    <a:lnTo>
                      <a:pt x="6847" y="4334"/>
                    </a:lnTo>
                    <a:lnTo>
                      <a:pt x="6847" y="5691"/>
                    </a:lnTo>
                    <a:cubicBezTo>
                      <a:pt x="6847" y="6430"/>
                      <a:pt x="6228" y="7037"/>
                      <a:pt x="5490" y="7037"/>
                    </a:cubicBezTo>
                    <a:lnTo>
                      <a:pt x="4704" y="7037"/>
                    </a:lnTo>
                    <a:cubicBezTo>
                      <a:pt x="4561" y="7037"/>
                      <a:pt x="4466" y="7144"/>
                      <a:pt x="4466" y="7275"/>
                    </a:cubicBezTo>
                    <a:cubicBezTo>
                      <a:pt x="4442" y="7834"/>
                      <a:pt x="4239" y="8215"/>
                      <a:pt x="3668" y="8251"/>
                    </a:cubicBezTo>
                    <a:cubicBezTo>
                      <a:pt x="3930" y="7977"/>
                      <a:pt x="3954" y="7573"/>
                      <a:pt x="3882" y="7239"/>
                    </a:cubicBezTo>
                    <a:cubicBezTo>
                      <a:pt x="3846" y="7120"/>
                      <a:pt x="3763" y="7037"/>
                      <a:pt x="3644" y="7037"/>
                    </a:cubicBezTo>
                    <a:lnTo>
                      <a:pt x="1703" y="7037"/>
                    </a:lnTo>
                    <a:cubicBezTo>
                      <a:pt x="965" y="7037"/>
                      <a:pt x="358" y="6430"/>
                      <a:pt x="358" y="5691"/>
                    </a:cubicBezTo>
                    <a:lnTo>
                      <a:pt x="358" y="5310"/>
                    </a:lnTo>
                    <a:cubicBezTo>
                      <a:pt x="358" y="5227"/>
                      <a:pt x="275" y="5132"/>
                      <a:pt x="179" y="5132"/>
                    </a:cubicBezTo>
                    <a:cubicBezTo>
                      <a:pt x="84" y="5132"/>
                      <a:pt x="1" y="5215"/>
                      <a:pt x="1" y="5310"/>
                    </a:cubicBezTo>
                    <a:lnTo>
                      <a:pt x="1" y="5691"/>
                    </a:lnTo>
                    <a:cubicBezTo>
                      <a:pt x="1" y="6620"/>
                      <a:pt x="751" y="7394"/>
                      <a:pt x="1703" y="7394"/>
                    </a:cubicBezTo>
                    <a:lnTo>
                      <a:pt x="3573" y="7394"/>
                    </a:lnTo>
                    <a:cubicBezTo>
                      <a:pt x="3596" y="7620"/>
                      <a:pt x="3596" y="8025"/>
                      <a:pt x="3215" y="8144"/>
                    </a:cubicBezTo>
                    <a:cubicBezTo>
                      <a:pt x="2989" y="8215"/>
                      <a:pt x="3001" y="8525"/>
                      <a:pt x="3239" y="8573"/>
                    </a:cubicBezTo>
                    <a:cubicBezTo>
                      <a:pt x="3370" y="8608"/>
                      <a:pt x="3489" y="8608"/>
                      <a:pt x="3596" y="8608"/>
                    </a:cubicBezTo>
                    <a:cubicBezTo>
                      <a:pt x="4299" y="8608"/>
                      <a:pt x="4763" y="8204"/>
                      <a:pt x="4823" y="7394"/>
                    </a:cubicBezTo>
                    <a:lnTo>
                      <a:pt x="5513" y="7394"/>
                    </a:lnTo>
                    <a:cubicBezTo>
                      <a:pt x="6454" y="7394"/>
                      <a:pt x="7228" y="6644"/>
                      <a:pt x="7228" y="5691"/>
                    </a:cubicBezTo>
                    <a:lnTo>
                      <a:pt x="7228" y="4334"/>
                    </a:lnTo>
                    <a:lnTo>
                      <a:pt x="7764" y="4334"/>
                    </a:lnTo>
                    <a:cubicBezTo>
                      <a:pt x="7716" y="4715"/>
                      <a:pt x="7704" y="5429"/>
                      <a:pt x="8157" y="5894"/>
                    </a:cubicBezTo>
                    <a:cubicBezTo>
                      <a:pt x="8407" y="6168"/>
                      <a:pt x="8764" y="6299"/>
                      <a:pt x="9240" y="6299"/>
                    </a:cubicBezTo>
                    <a:cubicBezTo>
                      <a:pt x="9311" y="6299"/>
                      <a:pt x="9383" y="6299"/>
                      <a:pt x="9478" y="6287"/>
                    </a:cubicBezTo>
                    <a:cubicBezTo>
                      <a:pt x="9704" y="6263"/>
                      <a:pt x="9776" y="5965"/>
                      <a:pt x="9561" y="5846"/>
                    </a:cubicBezTo>
                    <a:cubicBezTo>
                      <a:pt x="8847" y="5429"/>
                      <a:pt x="9002" y="4715"/>
                      <a:pt x="9145" y="4334"/>
                    </a:cubicBezTo>
                    <a:lnTo>
                      <a:pt x="10276" y="4334"/>
                    </a:lnTo>
                    <a:cubicBezTo>
                      <a:pt x="11205" y="4334"/>
                      <a:pt x="11943" y="3584"/>
                      <a:pt x="11943" y="2667"/>
                    </a:cubicBezTo>
                    <a:lnTo>
                      <a:pt x="11943" y="179"/>
                    </a:lnTo>
                    <a:cubicBezTo>
                      <a:pt x="11919" y="95"/>
                      <a:pt x="11847" y="0"/>
                      <a:pt x="11740"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29" name="Google Shape;146;p16">
                <a:extLst>
                  <a:ext uri="{FF2B5EF4-FFF2-40B4-BE49-F238E27FC236}">
                    <a16:creationId xmlns:a16="http://schemas.microsoft.com/office/drawing/2014/main" id="{453E171E-E4F2-49C3-B26B-BBE697899022}"/>
                  </a:ext>
                </a:extLst>
              </p:cNvPr>
              <p:cNvSpPr/>
              <p:nvPr/>
            </p:nvSpPr>
            <p:spPr>
              <a:xfrm>
                <a:off x="7384751" y="4147984"/>
                <a:ext cx="380012" cy="228382"/>
              </a:xfrm>
              <a:custGeom>
                <a:avLst/>
                <a:gdLst/>
                <a:ahLst/>
                <a:cxnLst/>
                <a:rect l="l" t="t" r="r" b="b"/>
                <a:pathLst>
                  <a:path w="11967" h="7192" extrusionOk="0">
                    <a:moveTo>
                      <a:pt x="3144" y="0"/>
                    </a:moveTo>
                    <a:cubicBezTo>
                      <a:pt x="2227" y="0"/>
                      <a:pt x="1477" y="739"/>
                      <a:pt x="1477" y="1667"/>
                    </a:cubicBezTo>
                    <a:lnTo>
                      <a:pt x="1477" y="4132"/>
                    </a:lnTo>
                    <a:cubicBezTo>
                      <a:pt x="1108" y="4191"/>
                      <a:pt x="751" y="4358"/>
                      <a:pt x="477" y="4644"/>
                    </a:cubicBezTo>
                    <a:cubicBezTo>
                      <a:pt x="168" y="4965"/>
                      <a:pt x="1" y="5382"/>
                      <a:pt x="1" y="5823"/>
                    </a:cubicBezTo>
                    <a:lnTo>
                      <a:pt x="1" y="7013"/>
                    </a:lnTo>
                    <a:cubicBezTo>
                      <a:pt x="1" y="7097"/>
                      <a:pt x="84" y="7192"/>
                      <a:pt x="180" y="7192"/>
                    </a:cubicBezTo>
                    <a:cubicBezTo>
                      <a:pt x="275" y="7192"/>
                      <a:pt x="358" y="7108"/>
                      <a:pt x="358" y="7013"/>
                    </a:cubicBezTo>
                    <a:lnTo>
                      <a:pt x="358" y="5823"/>
                    </a:lnTo>
                    <a:cubicBezTo>
                      <a:pt x="358" y="5465"/>
                      <a:pt x="501" y="5132"/>
                      <a:pt x="751" y="4882"/>
                    </a:cubicBezTo>
                    <a:cubicBezTo>
                      <a:pt x="953" y="4668"/>
                      <a:pt x="1203" y="4537"/>
                      <a:pt x="1489" y="4477"/>
                    </a:cubicBezTo>
                    <a:lnTo>
                      <a:pt x="1489" y="5084"/>
                    </a:lnTo>
                    <a:cubicBezTo>
                      <a:pt x="1489" y="6013"/>
                      <a:pt x="2239" y="6751"/>
                      <a:pt x="3156" y="6751"/>
                    </a:cubicBezTo>
                    <a:lnTo>
                      <a:pt x="5240" y="6751"/>
                    </a:lnTo>
                    <a:cubicBezTo>
                      <a:pt x="5335" y="6751"/>
                      <a:pt x="5418" y="6680"/>
                      <a:pt x="5418" y="6573"/>
                    </a:cubicBezTo>
                    <a:cubicBezTo>
                      <a:pt x="5418" y="6489"/>
                      <a:pt x="5347" y="6394"/>
                      <a:pt x="5240" y="6394"/>
                    </a:cubicBezTo>
                    <a:lnTo>
                      <a:pt x="3156" y="6394"/>
                    </a:lnTo>
                    <a:cubicBezTo>
                      <a:pt x="2430" y="6394"/>
                      <a:pt x="1834" y="5799"/>
                      <a:pt x="1834" y="5073"/>
                    </a:cubicBezTo>
                    <a:lnTo>
                      <a:pt x="1834" y="1620"/>
                    </a:lnTo>
                    <a:cubicBezTo>
                      <a:pt x="1834" y="893"/>
                      <a:pt x="2430" y="298"/>
                      <a:pt x="3156" y="298"/>
                    </a:cubicBezTo>
                    <a:lnTo>
                      <a:pt x="10288" y="298"/>
                    </a:lnTo>
                    <a:cubicBezTo>
                      <a:pt x="11014" y="298"/>
                      <a:pt x="11610" y="893"/>
                      <a:pt x="11610" y="1620"/>
                    </a:cubicBezTo>
                    <a:lnTo>
                      <a:pt x="11610" y="1846"/>
                    </a:lnTo>
                    <a:cubicBezTo>
                      <a:pt x="11610" y="1929"/>
                      <a:pt x="11693" y="2025"/>
                      <a:pt x="11788" y="2025"/>
                    </a:cubicBezTo>
                    <a:cubicBezTo>
                      <a:pt x="11883" y="2025"/>
                      <a:pt x="11967" y="1953"/>
                      <a:pt x="11967" y="1846"/>
                    </a:cubicBezTo>
                    <a:lnTo>
                      <a:pt x="11967" y="1620"/>
                    </a:lnTo>
                    <a:cubicBezTo>
                      <a:pt x="11943" y="762"/>
                      <a:pt x="11193" y="0"/>
                      <a:pt x="10276" y="0"/>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0" name="Google Shape;147;p16">
                <a:extLst>
                  <a:ext uri="{FF2B5EF4-FFF2-40B4-BE49-F238E27FC236}">
                    <a16:creationId xmlns:a16="http://schemas.microsoft.com/office/drawing/2014/main" id="{67DEF438-9456-43D0-BF2C-49B0D9C2E884}"/>
                  </a:ext>
                </a:extLst>
              </p:cNvPr>
              <p:cNvSpPr/>
              <p:nvPr/>
            </p:nvSpPr>
            <p:spPr>
              <a:xfrm>
                <a:off x="7507642" y="4228134"/>
                <a:ext cx="37852" cy="37852"/>
              </a:xfrm>
              <a:custGeom>
                <a:avLst/>
                <a:gdLst/>
                <a:ahLst/>
                <a:cxnLst/>
                <a:rect l="l" t="t" r="r" b="b"/>
                <a:pathLst>
                  <a:path w="1192" h="1192" extrusionOk="0">
                    <a:moveTo>
                      <a:pt x="596" y="358"/>
                    </a:moveTo>
                    <a:cubicBezTo>
                      <a:pt x="739" y="358"/>
                      <a:pt x="834" y="465"/>
                      <a:pt x="834" y="596"/>
                    </a:cubicBezTo>
                    <a:cubicBezTo>
                      <a:pt x="834" y="739"/>
                      <a:pt x="739" y="834"/>
                      <a:pt x="596" y="834"/>
                    </a:cubicBezTo>
                    <a:cubicBezTo>
                      <a:pt x="465" y="834"/>
                      <a:pt x="358" y="739"/>
                      <a:pt x="358" y="596"/>
                    </a:cubicBezTo>
                    <a:cubicBezTo>
                      <a:pt x="358" y="465"/>
                      <a:pt x="465" y="358"/>
                      <a:pt x="596" y="358"/>
                    </a:cubicBezTo>
                    <a:close/>
                    <a:moveTo>
                      <a:pt x="596" y="1"/>
                    </a:moveTo>
                    <a:cubicBezTo>
                      <a:pt x="274" y="1"/>
                      <a:pt x="0" y="274"/>
                      <a:pt x="0" y="596"/>
                    </a:cubicBezTo>
                    <a:cubicBezTo>
                      <a:pt x="0" y="929"/>
                      <a:pt x="274" y="1191"/>
                      <a:pt x="596" y="1191"/>
                    </a:cubicBezTo>
                    <a:cubicBezTo>
                      <a:pt x="929" y="1191"/>
                      <a:pt x="1191" y="929"/>
                      <a:pt x="1191" y="596"/>
                    </a:cubicBezTo>
                    <a:cubicBezTo>
                      <a:pt x="1191" y="274"/>
                      <a:pt x="929" y="1"/>
                      <a:pt x="596" y="1"/>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1" name="Google Shape;148;p16">
                <a:extLst>
                  <a:ext uri="{FF2B5EF4-FFF2-40B4-BE49-F238E27FC236}">
                    <a16:creationId xmlns:a16="http://schemas.microsoft.com/office/drawing/2014/main" id="{ECAFE233-0BA1-43E7-AC38-589B005A2145}"/>
                  </a:ext>
                </a:extLst>
              </p:cNvPr>
              <p:cNvSpPr/>
              <p:nvPr/>
            </p:nvSpPr>
            <p:spPr>
              <a:xfrm>
                <a:off x="7573820" y="4228134"/>
                <a:ext cx="37820" cy="37852"/>
              </a:xfrm>
              <a:custGeom>
                <a:avLst/>
                <a:gdLst/>
                <a:ahLst/>
                <a:cxnLst/>
                <a:rect l="l" t="t" r="r" b="b"/>
                <a:pathLst>
                  <a:path w="1191" h="1192" extrusionOk="0">
                    <a:moveTo>
                      <a:pt x="595" y="358"/>
                    </a:moveTo>
                    <a:cubicBezTo>
                      <a:pt x="738" y="358"/>
                      <a:pt x="833" y="465"/>
                      <a:pt x="833" y="596"/>
                    </a:cubicBezTo>
                    <a:cubicBezTo>
                      <a:pt x="833" y="739"/>
                      <a:pt x="738" y="834"/>
                      <a:pt x="595" y="834"/>
                    </a:cubicBezTo>
                    <a:cubicBezTo>
                      <a:pt x="464" y="834"/>
                      <a:pt x="357" y="739"/>
                      <a:pt x="357" y="596"/>
                    </a:cubicBezTo>
                    <a:cubicBezTo>
                      <a:pt x="357" y="465"/>
                      <a:pt x="464" y="358"/>
                      <a:pt x="595" y="358"/>
                    </a:cubicBezTo>
                    <a:close/>
                    <a:moveTo>
                      <a:pt x="595" y="1"/>
                    </a:moveTo>
                    <a:cubicBezTo>
                      <a:pt x="274" y="1"/>
                      <a:pt x="0" y="274"/>
                      <a:pt x="0" y="596"/>
                    </a:cubicBezTo>
                    <a:cubicBezTo>
                      <a:pt x="0" y="929"/>
                      <a:pt x="274" y="1191"/>
                      <a:pt x="595" y="1191"/>
                    </a:cubicBezTo>
                    <a:cubicBezTo>
                      <a:pt x="929" y="1191"/>
                      <a:pt x="1191" y="929"/>
                      <a:pt x="1191" y="596"/>
                    </a:cubicBezTo>
                    <a:cubicBezTo>
                      <a:pt x="1191" y="274"/>
                      <a:pt x="929" y="1"/>
                      <a:pt x="595" y="1"/>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sp>
            <p:nvSpPr>
              <p:cNvPr id="32" name="Google Shape;149;p16">
                <a:extLst>
                  <a:ext uri="{FF2B5EF4-FFF2-40B4-BE49-F238E27FC236}">
                    <a16:creationId xmlns:a16="http://schemas.microsoft.com/office/drawing/2014/main" id="{8347D66F-8F91-476D-8268-B201D2FDCFF4}"/>
                  </a:ext>
                </a:extLst>
              </p:cNvPr>
              <p:cNvSpPr/>
              <p:nvPr/>
            </p:nvSpPr>
            <p:spPr>
              <a:xfrm>
                <a:off x="7640728" y="4228134"/>
                <a:ext cx="37852" cy="37852"/>
              </a:xfrm>
              <a:custGeom>
                <a:avLst/>
                <a:gdLst/>
                <a:ahLst/>
                <a:cxnLst/>
                <a:rect l="l" t="t" r="r" b="b"/>
                <a:pathLst>
                  <a:path w="1192" h="1192" extrusionOk="0">
                    <a:moveTo>
                      <a:pt x="596" y="358"/>
                    </a:moveTo>
                    <a:cubicBezTo>
                      <a:pt x="727" y="358"/>
                      <a:pt x="834" y="465"/>
                      <a:pt x="834" y="596"/>
                    </a:cubicBezTo>
                    <a:cubicBezTo>
                      <a:pt x="834" y="739"/>
                      <a:pt x="727" y="834"/>
                      <a:pt x="596" y="834"/>
                    </a:cubicBezTo>
                    <a:cubicBezTo>
                      <a:pt x="453" y="834"/>
                      <a:pt x="358" y="739"/>
                      <a:pt x="358" y="596"/>
                    </a:cubicBezTo>
                    <a:cubicBezTo>
                      <a:pt x="334" y="465"/>
                      <a:pt x="453" y="358"/>
                      <a:pt x="596" y="358"/>
                    </a:cubicBezTo>
                    <a:close/>
                    <a:moveTo>
                      <a:pt x="596" y="1"/>
                    </a:moveTo>
                    <a:cubicBezTo>
                      <a:pt x="262" y="1"/>
                      <a:pt x="0" y="274"/>
                      <a:pt x="0" y="596"/>
                    </a:cubicBezTo>
                    <a:cubicBezTo>
                      <a:pt x="0" y="929"/>
                      <a:pt x="262" y="1191"/>
                      <a:pt x="596" y="1191"/>
                    </a:cubicBezTo>
                    <a:cubicBezTo>
                      <a:pt x="917" y="1191"/>
                      <a:pt x="1191" y="929"/>
                      <a:pt x="1191" y="596"/>
                    </a:cubicBezTo>
                    <a:cubicBezTo>
                      <a:pt x="1191" y="274"/>
                      <a:pt x="917" y="1"/>
                      <a:pt x="596" y="1"/>
                    </a:cubicBezTo>
                    <a:close/>
                  </a:path>
                </a:pathLst>
              </a:custGeom>
              <a:solidFill>
                <a:srgbClr val="FFFFFF"/>
              </a:solidFill>
              <a:ln>
                <a:noFill/>
              </a:ln>
            </p:spPr>
            <p:txBody>
              <a:bodyPr spcFirstLastPara="1" wrap="square" lIns="99044" tIns="99044" rIns="99044" bIns="99044" anchor="ctr" anchorCtr="0">
                <a:noAutofit/>
              </a:bodyPr>
              <a:lstStyle/>
              <a:p>
                <a:endParaRPr sz="1950"/>
              </a:p>
            </p:txBody>
          </p:sp>
        </p:grpSp>
        <p:grpSp>
          <p:nvGrpSpPr>
            <p:cNvPr id="17" name="Google Shape;105;p16">
              <a:extLst>
                <a:ext uri="{FF2B5EF4-FFF2-40B4-BE49-F238E27FC236}">
                  <a16:creationId xmlns:a16="http://schemas.microsoft.com/office/drawing/2014/main" id="{7ABAB838-09F5-43AA-8002-75F4D843FCFB}"/>
                </a:ext>
              </a:extLst>
            </p:cNvPr>
            <p:cNvGrpSpPr/>
            <p:nvPr/>
          </p:nvGrpSpPr>
          <p:grpSpPr>
            <a:xfrm>
              <a:off x="7993036" y="2120010"/>
              <a:ext cx="2041651" cy="3247805"/>
              <a:chOff x="6549174" y="1333888"/>
              <a:chExt cx="1884601" cy="2997974"/>
            </a:xfrm>
            <a:solidFill>
              <a:srgbClr val="FFC000"/>
            </a:solidFill>
          </p:grpSpPr>
          <p:sp>
            <p:nvSpPr>
              <p:cNvPr id="20" name="Google Shape;106;p16">
                <a:extLst>
                  <a:ext uri="{FF2B5EF4-FFF2-40B4-BE49-F238E27FC236}">
                    <a16:creationId xmlns:a16="http://schemas.microsoft.com/office/drawing/2014/main" id="{0F535362-11D3-44CB-A48D-6182DAD2D535}"/>
                  </a:ext>
                </a:extLst>
              </p:cNvPr>
              <p:cNvSpPr/>
              <p:nvPr/>
            </p:nvSpPr>
            <p:spPr>
              <a:xfrm>
                <a:off x="6899575" y="1333888"/>
                <a:ext cx="1183800" cy="1183800"/>
              </a:xfrm>
              <a:prstGeom prst="ellipse">
                <a:avLst/>
              </a:prstGeom>
              <a:grpFill/>
              <a:ln w="9525" cap="flat" cmpd="sng">
                <a:solidFill>
                  <a:srgbClr val="000000"/>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21" name="Google Shape;107;p16">
                <a:extLst>
                  <a:ext uri="{FF2B5EF4-FFF2-40B4-BE49-F238E27FC236}">
                    <a16:creationId xmlns:a16="http://schemas.microsoft.com/office/drawing/2014/main" id="{C10C2C22-D4DD-474A-96CE-F42D4B5BEC3D}"/>
                  </a:ext>
                </a:extLst>
              </p:cNvPr>
              <p:cNvSpPr/>
              <p:nvPr/>
            </p:nvSpPr>
            <p:spPr>
              <a:xfrm>
                <a:off x="6982075" y="1416388"/>
                <a:ext cx="1018800" cy="1018800"/>
              </a:xfrm>
              <a:prstGeom prst="ellipse">
                <a:avLst/>
              </a:prstGeom>
              <a:grpFill/>
              <a:ln>
                <a:noFill/>
              </a:ln>
            </p:spPr>
            <p:txBody>
              <a:bodyPr spcFirstLastPara="1" wrap="square" lIns="99044" tIns="99044" rIns="99044" bIns="99044" anchor="ctr" anchorCtr="0">
                <a:noAutofit/>
              </a:bodyPr>
              <a:lstStyle/>
              <a:p>
                <a:endParaRPr sz="1950"/>
              </a:p>
            </p:txBody>
          </p:sp>
          <p:sp>
            <p:nvSpPr>
              <p:cNvPr id="22" name="Google Shape;108;p16">
                <a:extLst>
                  <a:ext uri="{FF2B5EF4-FFF2-40B4-BE49-F238E27FC236}">
                    <a16:creationId xmlns:a16="http://schemas.microsoft.com/office/drawing/2014/main" id="{69DB4195-F13D-4624-81F5-D3413E929FFC}"/>
                  </a:ext>
                </a:extLst>
              </p:cNvPr>
              <p:cNvSpPr/>
              <p:nvPr/>
            </p:nvSpPr>
            <p:spPr>
              <a:xfrm>
                <a:off x="7408975" y="2583338"/>
                <a:ext cx="165000" cy="165000"/>
              </a:xfrm>
              <a:prstGeom prst="ellipse">
                <a:avLst/>
              </a:prstGeom>
              <a:grpFill/>
              <a:ln>
                <a:noFill/>
              </a:ln>
            </p:spPr>
            <p:txBody>
              <a:bodyPr spcFirstLastPara="1" wrap="square" lIns="99044" tIns="99044" rIns="99044" bIns="99044" anchor="ctr" anchorCtr="0">
                <a:noAutofit/>
              </a:bodyPr>
              <a:lstStyle/>
              <a:p>
                <a:endParaRPr sz="1950"/>
              </a:p>
            </p:txBody>
          </p:sp>
          <p:sp>
            <p:nvSpPr>
              <p:cNvPr id="23" name="Google Shape;109;p16">
                <a:extLst>
                  <a:ext uri="{FF2B5EF4-FFF2-40B4-BE49-F238E27FC236}">
                    <a16:creationId xmlns:a16="http://schemas.microsoft.com/office/drawing/2014/main" id="{6DE4F661-AFED-4527-8554-60ED475F87B9}"/>
                  </a:ext>
                </a:extLst>
              </p:cNvPr>
              <p:cNvSpPr/>
              <p:nvPr/>
            </p:nvSpPr>
            <p:spPr>
              <a:xfrm>
                <a:off x="7443025" y="2813988"/>
                <a:ext cx="96900" cy="96900"/>
              </a:xfrm>
              <a:prstGeom prst="ellipse">
                <a:avLst/>
              </a:prstGeom>
              <a:grpFill/>
              <a:ln>
                <a:noFill/>
              </a:ln>
            </p:spPr>
            <p:txBody>
              <a:bodyPr spcFirstLastPara="1" wrap="square" lIns="99044" tIns="99044" rIns="99044" bIns="99044" anchor="ctr" anchorCtr="0">
                <a:noAutofit/>
              </a:bodyPr>
              <a:lstStyle/>
              <a:p>
                <a:endParaRPr sz="1950"/>
              </a:p>
            </p:txBody>
          </p:sp>
          <p:sp>
            <p:nvSpPr>
              <p:cNvPr id="24" name="Google Shape;110;p16">
                <a:extLst>
                  <a:ext uri="{FF2B5EF4-FFF2-40B4-BE49-F238E27FC236}">
                    <a16:creationId xmlns:a16="http://schemas.microsoft.com/office/drawing/2014/main" id="{67901CD0-CEF0-462F-87F9-3DBFFD3665F8}"/>
                  </a:ext>
                </a:extLst>
              </p:cNvPr>
              <p:cNvSpPr/>
              <p:nvPr/>
            </p:nvSpPr>
            <p:spPr>
              <a:xfrm>
                <a:off x="7382425" y="2976538"/>
                <a:ext cx="218100" cy="218100"/>
              </a:xfrm>
              <a:prstGeom prst="ellipse">
                <a:avLst/>
              </a:prstGeom>
              <a:grpFill/>
              <a:ln w="9525" cap="flat" cmpd="sng">
                <a:solidFill>
                  <a:srgbClr val="434343"/>
                </a:solidFill>
                <a:prstDash val="solid"/>
                <a:round/>
                <a:headEnd type="none" w="sm" len="sm"/>
                <a:tailEnd type="none" w="sm" len="sm"/>
              </a:ln>
            </p:spPr>
            <p:txBody>
              <a:bodyPr spcFirstLastPara="1" wrap="square" lIns="99044" tIns="99044" rIns="99044" bIns="99044" anchor="ctr" anchorCtr="0">
                <a:noAutofit/>
              </a:bodyPr>
              <a:lstStyle/>
              <a:p>
                <a:endParaRPr sz="1950"/>
              </a:p>
            </p:txBody>
          </p:sp>
          <p:sp>
            <p:nvSpPr>
              <p:cNvPr id="25" name="Google Shape;111;p16">
                <a:extLst>
                  <a:ext uri="{FF2B5EF4-FFF2-40B4-BE49-F238E27FC236}">
                    <a16:creationId xmlns:a16="http://schemas.microsoft.com/office/drawing/2014/main" id="{0002370F-B05E-45B2-A0A7-E101CD1AFDCA}"/>
                  </a:ext>
                </a:extLst>
              </p:cNvPr>
              <p:cNvSpPr/>
              <p:nvPr/>
            </p:nvSpPr>
            <p:spPr>
              <a:xfrm>
                <a:off x="7417375" y="3011383"/>
                <a:ext cx="148200" cy="148200"/>
              </a:xfrm>
              <a:prstGeom prst="ellipse">
                <a:avLst/>
              </a:prstGeom>
              <a:solidFill>
                <a:schemeClr val="bg1"/>
              </a:solidFill>
              <a:ln>
                <a:noFill/>
              </a:ln>
            </p:spPr>
            <p:txBody>
              <a:bodyPr spcFirstLastPara="1" wrap="square" lIns="99044" tIns="99044" rIns="99044" bIns="99044" anchor="ctr" anchorCtr="0">
                <a:noAutofit/>
              </a:bodyPr>
              <a:lstStyle/>
              <a:p>
                <a:endParaRPr sz="1950"/>
              </a:p>
            </p:txBody>
          </p:sp>
          <p:sp>
            <p:nvSpPr>
              <p:cNvPr id="26" name="Google Shape;112;p16">
                <a:extLst>
                  <a:ext uri="{FF2B5EF4-FFF2-40B4-BE49-F238E27FC236}">
                    <a16:creationId xmlns:a16="http://schemas.microsoft.com/office/drawing/2014/main" id="{5C1A34C7-EBCD-4D3B-B92B-4B957843348A}"/>
                  </a:ext>
                </a:extLst>
              </p:cNvPr>
              <p:cNvSpPr txBox="1"/>
              <p:nvPr/>
            </p:nvSpPr>
            <p:spPr>
              <a:xfrm>
                <a:off x="6549174" y="3402457"/>
                <a:ext cx="1884600" cy="429600"/>
              </a:xfrm>
              <a:prstGeom prst="rect">
                <a:avLst/>
              </a:prstGeom>
              <a:noFill/>
              <a:ln>
                <a:noFill/>
              </a:ln>
            </p:spPr>
            <p:txBody>
              <a:bodyPr spcFirstLastPara="1" wrap="square" lIns="99044" tIns="99044" rIns="99044" bIns="99044" anchor="ctr" anchorCtr="0">
                <a:noAutofit/>
              </a:bodyPr>
              <a:lstStyle/>
              <a:p>
                <a:pPr algn="ctr"/>
                <a:r>
                  <a:rPr lang="en-IN" sz="1842" dirty="0">
                    <a:solidFill>
                      <a:srgbClr val="FFC000"/>
                    </a:solidFill>
                    <a:latin typeface="Fira Sans Extra Condensed Medium"/>
                    <a:ea typeface="Fira Sans Extra Condensed Medium"/>
                    <a:cs typeface="Fira Sans Extra Condensed Medium"/>
                    <a:sym typeface="Fira Sans Extra Condensed Medium"/>
                  </a:rPr>
                  <a:t>Process </a:t>
                </a:r>
                <a:endParaRPr sz="1842" dirty="0">
                  <a:solidFill>
                    <a:srgbClr val="FFC000"/>
                  </a:solidFill>
                  <a:latin typeface="Fira Sans Extra Condensed Medium"/>
                  <a:ea typeface="Fira Sans Extra Condensed Medium"/>
                  <a:cs typeface="Fira Sans Extra Condensed Medium"/>
                  <a:sym typeface="Fira Sans Extra Condensed Medium"/>
                </a:endParaRPr>
              </a:p>
            </p:txBody>
          </p:sp>
          <p:sp>
            <p:nvSpPr>
              <p:cNvPr id="27" name="Google Shape;113;p16">
                <a:extLst>
                  <a:ext uri="{FF2B5EF4-FFF2-40B4-BE49-F238E27FC236}">
                    <a16:creationId xmlns:a16="http://schemas.microsoft.com/office/drawing/2014/main" id="{32B993D5-95B0-4D6F-AF7D-8CE2616E56A4}"/>
                  </a:ext>
                </a:extLst>
              </p:cNvPr>
              <p:cNvSpPr txBox="1"/>
              <p:nvPr/>
            </p:nvSpPr>
            <p:spPr>
              <a:xfrm>
                <a:off x="6549175" y="3796962"/>
                <a:ext cx="1884600" cy="534900"/>
              </a:xfrm>
              <a:prstGeom prst="rect">
                <a:avLst/>
              </a:prstGeom>
              <a:noFill/>
              <a:ln>
                <a:noFill/>
              </a:ln>
            </p:spPr>
            <p:txBody>
              <a:bodyPr spcFirstLastPara="1" wrap="square" lIns="99044" tIns="99044" rIns="99044" bIns="99044" anchor="ctr" anchorCtr="0">
                <a:noAutofit/>
              </a:bodyPr>
              <a:lstStyle/>
              <a:p>
                <a:pPr algn="ctr"/>
                <a:r>
                  <a:rPr lang="en-IN" sz="1300" dirty="0">
                    <a:latin typeface="Roboto"/>
                    <a:ea typeface="Roboto"/>
                    <a:cs typeface="Roboto"/>
                    <a:sym typeface="Roboto"/>
                  </a:rPr>
                  <a:t>SOP, </a:t>
                </a:r>
              </a:p>
              <a:p>
                <a:pPr algn="ctr"/>
                <a:r>
                  <a:rPr lang="en-IN" sz="1300" dirty="0">
                    <a:latin typeface="Roboto"/>
                    <a:ea typeface="Roboto"/>
                    <a:cs typeface="Roboto"/>
                    <a:sym typeface="Roboto"/>
                  </a:rPr>
                  <a:t>Qualification and validation </a:t>
                </a:r>
                <a:endParaRPr sz="1300" dirty="0">
                  <a:latin typeface="Roboto"/>
                  <a:ea typeface="Roboto"/>
                  <a:cs typeface="Roboto"/>
                  <a:sym typeface="Roboto"/>
                </a:endParaRPr>
              </a:p>
            </p:txBody>
          </p:sp>
        </p:grpSp>
        <p:cxnSp>
          <p:nvCxnSpPr>
            <p:cNvPr id="18" name="Straight Connector 17">
              <a:extLst>
                <a:ext uri="{FF2B5EF4-FFF2-40B4-BE49-F238E27FC236}">
                  <a16:creationId xmlns:a16="http://schemas.microsoft.com/office/drawing/2014/main" id="{93E3F105-57CA-405D-B6E2-2FB95A80D478}"/>
                </a:ext>
              </a:extLst>
            </p:cNvPr>
            <p:cNvCxnSpPr>
              <a:cxnSpLocks/>
              <a:endCxn id="24" idx="2"/>
            </p:cNvCxnSpPr>
            <p:nvPr/>
          </p:nvCxnSpPr>
          <p:spPr bwMode="auto">
            <a:xfrm>
              <a:off x="7388238" y="3997443"/>
              <a:ext cx="1507487" cy="20242"/>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9" name="Google Shape;132;p16">
              <a:extLst>
                <a:ext uri="{FF2B5EF4-FFF2-40B4-BE49-F238E27FC236}">
                  <a16:creationId xmlns:a16="http://schemas.microsoft.com/office/drawing/2014/main" id="{CB783A32-1AA3-4EC7-B5A9-0C6473C249AF}"/>
                </a:ext>
              </a:extLst>
            </p:cNvPr>
            <p:cNvSpPr/>
            <p:nvPr/>
          </p:nvSpPr>
          <p:spPr>
            <a:xfrm>
              <a:off x="8732905" y="2507936"/>
              <a:ext cx="561913" cy="559536"/>
            </a:xfrm>
            <a:custGeom>
              <a:avLst/>
              <a:gdLst/>
              <a:ahLst/>
              <a:cxnLst/>
              <a:rect l="l" t="t" r="r" b="b"/>
              <a:pathLst>
                <a:path w="11348" h="11300" extrusionOk="0">
                  <a:moveTo>
                    <a:pt x="7752" y="846"/>
                  </a:moveTo>
                  <a:cubicBezTo>
                    <a:pt x="7978" y="846"/>
                    <a:pt x="8133" y="1025"/>
                    <a:pt x="8133" y="1239"/>
                  </a:cubicBezTo>
                  <a:lnTo>
                    <a:pt x="8133" y="4001"/>
                  </a:lnTo>
                  <a:lnTo>
                    <a:pt x="4252" y="4001"/>
                  </a:lnTo>
                  <a:cubicBezTo>
                    <a:pt x="3763" y="4001"/>
                    <a:pt x="3359" y="4406"/>
                    <a:pt x="3359" y="4894"/>
                  </a:cubicBezTo>
                  <a:lnTo>
                    <a:pt x="3359" y="4990"/>
                  </a:lnTo>
                  <a:lnTo>
                    <a:pt x="1168" y="4990"/>
                  </a:lnTo>
                  <a:lnTo>
                    <a:pt x="1168" y="5001"/>
                  </a:lnTo>
                  <a:cubicBezTo>
                    <a:pt x="942" y="5001"/>
                    <a:pt x="787" y="4823"/>
                    <a:pt x="787" y="4609"/>
                  </a:cubicBezTo>
                  <a:lnTo>
                    <a:pt x="787" y="1239"/>
                  </a:lnTo>
                  <a:cubicBezTo>
                    <a:pt x="787" y="1013"/>
                    <a:pt x="965" y="846"/>
                    <a:pt x="1168" y="846"/>
                  </a:cubicBezTo>
                  <a:close/>
                  <a:moveTo>
                    <a:pt x="3370" y="6621"/>
                  </a:moveTo>
                  <a:lnTo>
                    <a:pt x="3370" y="6978"/>
                  </a:lnTo>
                  <a:lnTo>
                    <a:pt x="3180" y="6978"/>
                  </a:lnTo>
                  <a:lnTo>
                    <a:pt x="3370" y="6621"/>
                  </a:lnTo>
                  <a:close/>
                  <a:moveTo>
                    <a:pt x="3382" y="7335"/>
                  </a:moveTo>
                  <a:lnTo>
                    <a:pt x="3382" y="7490"/>
                  </a:lnTo>
                  <a:lnTo>
                    <a:pt x="2644" y="7490"/>
                  </a:lnTo>
                  <a:cubicBezTo>
                    <a:pt x="2597" y="7490"/>
                    <a:pt x="2573" y="7454"/>
                    <a:pt x="2573" y="7407"/>
                  </a:cubicBezTo>
                  <a:cubicBezTo>
                    <a:pt x="2573" y="7383"/>
                    <a:pt x="2585" y="7371"/>
                    <a:pt x="2597" y="7347"/>
                  </a:cubicBezTo>
                  <a:cubicBezTo>
                    <a:pt x="2620" y="7335"/>
                    <a:pt x="2632" y="7335"/>
                    <a:pt x="2656" y="7335"/>
                  </a:cubicBezTo>
                  <a:close/>
                  <a:moveTo>
                    <a:pt x="8966" y="8276"/>
                  </a:moveTo>
                  <a:cubicBezTo>
                    <a:pt x="9062" y="8276"/>
                    <a:pt x="9133" y="8347"/>
                    <a:pt x="9133" y="8442"/>
                  </a:cubicBezTo>
                  <a:lnTo>
                    <a:pt x="9133" y="8573"/>
                  </a:lnTo>
                  <a:cubicBezTo>
                    <a:pt x="9109" y="8573"/>
                    <a:pt x="9074" y="8561"/>
                    <a:pt x="9038" y="8561"/>
                  </a:cubicBezTo>
                  <a:lnTo>
                    <a:pt x="7454" y="8561"/>
                  </a:lnTo>
                  <a:cubicBezTo>
                    <a:pt x="7419" y="8561"/>
                    <a:pt x="7395" y="8561"/>
                    <a:pt x="7359" y="8573"/>
                  </a:cubicBezTo>
                  <a:lnTo>
                    <a:pt x="7359" y="8442"/>
                  </a:lnTo>
                  <a:cubicBezTo>
                    <a:pt x="7359" y="8347"/>
                    <a:pt x="7430" y="8276"/>
                    <a:pt x="7526" y="8276"/>
                  </a:cubicBezTo>
                  <a:close/>
                  <a:moveTo>
                    <a:pt x="9883" y="4347"/>
                  </a:moveTo>
                  <a:cubicBezTo>
                    <a:pt x="10193" y="4347"/>
                    <a:pt x="10443" y="4597"/>
                    <a:pt x="10443" y="4906"/>
                  </a:cubicBezTo>
                  <a:lnTo>
                    <a:pt x="10443" y="9276"/>
                  </a:lnTo>
                  <a:lnTo>
                    <a:pt x="9478" y="9276"/>
                  </a:lnTo>
                  <a:lnTo>
                    <a:pt x="9478" y="9109"/>
                  </a:lnTo>
                  <a:lnTo>
                    <a:pt x="9764" y="9109"/>
                  </a:lnTo>
                  <a:cubicBezTo>
                    <a:pt x="10038" y="9109"/>
                    <a:pt x="10264" y="8883"/>
                    <a:pt x="10264" y="8597"/>
                  </a:cubicBezTo>
                  <a:lnTo>
                    <a:pt x="10264" y="5942"/>
                  </a:lnTo>
                  <a:cubicBezTo>
                    <a:pt x="10264" y="5847"/>
                    <a:pt x="10193" y="5775"/>
                    <a:pt x="10097" y="5775"/>
                  </a:cubicBezTo>
                  <a:cubicBezTo>
                    <a:pt x="10014" y="5775"/>
                    <a:pt x="9931" y="5847"/>
                    <a:pt x="9931" y="5942"/>
                  </a:cubicBezTo>
                  <a:lnTo>
                    <a:pt x="9931" y="8585"/>
                  </a:lnTo>
                  <a:cubicBezTo>
                    <a:pt x="9931" y="8680"/>
                    <a:pt x="9859" y="8752"/>
                    <a:pt x="9764" y="8752"/>
                  </a:cubicBezTo>
                  <a:lnTo>
                    <a:pt x="9478" y="8752"/>
                  </a:lnTo>
                  <a:lnTo>
                    <a:pt x="9478" y="8419"/>
                  </a:lnTo>
                  <a:cubicBezTo>
                    <a:pt x="9478" y="8157"/>
                    <a:pt x="9252" y="7918"/>
                    <a:pt x="8966" y="7918"/>
                  </a:cubicBezTo>
                  <a:lnTo>
                    <a:pt x="7526" y="7918"/>
                  </a:lnTo>
                  <a:cubicBezTo>
                    <a:pt x="7264" y="7918"/>
                    <a:pt x="7026" y="8145"/>
                    <a:pt x="7026" y="8419"/>
                  </a:cubicBezTo>
                  <a:lnTo>
                    <a:pt x="7026" y="8752"/>
                  </a:lnTo>
                  <a:lnTo>
                    <a:pt x="4382" y="8752"/>
                  </a:lnTo>
                  <a:cubicBezTo>
                    <a:pt x="4299" y="8752"/>
                    <a:pt x="4204" y="8680"/>
                    <a:pt x="4204" y="8585"/>
                  </a:cubicBezTo>
                  <a:lnTo>
                    <a:pt x="4204" y="5121"/>
                  </a:lnTo>
                  <a:cubicBezTo>
                    <a:pt x="4204" y="5025"/>
                    <a:pt x="4287" y="4942"/>
                    <a:pt x="4382" y="4942"/>
                  </a:cubicBezTo>
                  <a:lnTo>
                    <a:pt x="9740" y="4942"/>
                  </a:lnTo>
                  <a:cubicBezTo>
                    <a:pt x="9836" y="4942"/>
                    <a:pt x="9919" y="5013"/>
                    <a:pt x="9919" y="5121"/>
                  </a:cubicBezTo>
                  <a:lnTo>
                    <a:pt x="9919" y="5251"/>
                  </a:lnTo>
                  <a:cubicBezTo>
                    <a:pt x="9919" y="5347"/>
                    <a:pt x="10002" y="5418"/>
                    <a:pt x="10086" y="5418"/>
                  </a:cubicBezTo>
                  <a:cubicBezTo>
                    <a:pt x="10181" y="5418"/>
                    <a:pt x="10252" y="5347"/>
                    <a:pt x="10252" y="5251"/>
                  </a:cubicBezTo>
                  <a:lnTo>
                    <a:pt x="10252" y="5121"/>
                  </a:lnTo>
                  <a:cubicBezTo>
                    <a:pt x="10252" y="4835"/>
                    <a:pt x="10026" y="4609"/>
                    <a:pt x="9740" y="4609"/>
                  </a:cubicBezTo>
                  <a:lnTo>
                    <a:pt x="4382" y="4609"/>
                  </a:lnTo>
                  <a:cubicBezTo>
                    <a:pt x="4109" y="4609"/>
                    <a:pt x="3882" y="4835"/>
                    <a:pt x="3882" y="5121"/>
                  </a:cubicBezTo>
                  <a:lnTo>
                    <a:pt x="3882" y="8585"/>
                  </a:lnTo>
                  <a:cubicBezTo>
                    <a:pt x="3882" y="8871"/>
                    <a:pt x="4109" y="9097"/>
                    <a:pt x="4382" y="9097"/>
                  </a:cubicBezTo>
                  <a:lnTo>
                    <a:pt x="7026" y="9097"/>
                  </a:lnTo>
                  <a:lnTo>
                    <a:pt x="7026" y="9252"/>
                  </a:lnTo>
                  <a:lnTo>
                    <a:pt x="3716" y="9252"/>
                  </a:lnTo>
                  <a:lnTo>
                    <a:pt x="3716" y="4906"/>
                  </a:lnTo>
                  <a:cubicBezTo>
                    <a:pt x="3716" y="4597"/>
                    <a:pt x="3966" y="4347"/>
                    <a:pt x="4287" y="4347"/>
                  </a:cubicBezTo>
                  <a:close/>
                  <a:moveTo>
                    <a:pt x="7038" y="9597"/>
                  </a:moveTo>
                  <a:lnTo>
                    <a:pt x="7038" y="10002"/>
                  </a:lnTo>
                  <a:lnTo>
                    <a:pt x="3549" y="10002"/>
                  </a:lnTo>
                  <a:cubicBezTo>
                    <a:pt x="3539" y="10003"/>
                    <a:pt x="3529" y="10004"/>
                    <a:pt x="3520" y="10004"/>
                  </a:cubicBezTo>
                  <a:cubicBezTo>
                    <a:pt x="3434" y="10004"/>
                    <a:pt x="3351" y="9959"/>
                    <a:pt x="3287" y="9895"/>
                  </a:cubicBezTo>
                  <a:cubicBezTo>
                    <a:pt x="3216" y="9823"/>
                    <a:pt x="3168" y="9716"/>
                    <a:pt x="3168" y="9609"/>
                  </a:cubicBezTo>
                  <a:cubicBezTo>
                    <a:pt x="3168" y="9597"/>
                    <a:pt x="3168" y="9597"/>
                    <a:pt x="3180" y="9597"/>
                  </a:cubicBezTo>
                  <a:close/>
                  <a:moveTo>
                    <a:pt x="10990" y="9609"/>
                  </a:moveTo>
                  <a:lnTo>
                    <a:pt x="10990" y="9633"/>
                  </a:lnTo>
                  <a:cubicBezTo>
                    <a:pt x="10979" y="9835"/>
                    <a:pt x="10812" y="10014"/>
                    <a:pt x="10598" y="10014"/>
                  </a:cubicBezTo>
                  <a:lnTo>
                    <a:pt x="9478" y="10014"/>
                  </a:lnTo>
                  <a:lnTo>
                    <a:pt x="9478" y="9609"/>
                  </a:lnTo>
                  <a:close/>
                  <a:moveTo>
                    <a:pt x="9050" y="8883"/>
                  </a:moveTo>
                  <a:cubicBezTo>
                    <a:pt x="9085" y="8883"/>
                    <a:pt x="9133" y="8931"/>
                    <a:pt x="9133" y="8978"/>
                  </a:cubicBezTo>
                  <a:lnTo>
                    <a:pt x="9133" y="10240"/>
                  </a:lnTo>
                  <a:cubicBezTo>
                    <a:pt x="9133" y="10288"/>
                    <a:pt x="9085" y="10324"/>
                    <a:pt x="9050" y="10324"/>
                  </a:cubicBezTo>
                  <a:lnTo>
                    <a:pt x="7454" y="10324"/>
                  </a:lnTo>
                  <a:cubicBezTo>
                    <a:pt x="7407" y="10324"/>
                    <a:pt x="7359" y="10288"/>
                    <a:pt x="7359" y="10240"/>
                  </a:cubicBezTo>
                  <a:lnTo>
                    <a:pt x="7359" y="10181"/>
                  </a:lnTo>
                  <a:lnTo>
                    <a:pt x="7359" y="8978"/>
                  </a:lnTo>
                  <a:cubicBezTo>
                    <a:pt x="7359" y="8931"/>
                    <a:pt x="7407" y="8883"/>
                    <a:pt x="7454" y="8883"/>
                  </a:cubicBezTo>
                  <a:close/>
                  <a:moveTo>
                    <a:pt x="9133" y="10645"/>
                  </a:moveTo>
                  <a:lnTo>
                    <a:pt x="9133" y="10776"/>
                  </a:lnTo>
                  <a:cubicBezTo>
                    <a:pt x="9133" y="10859"/>
                    <a:pt x="9062" y="10943"/>
                    <a:pt x="8966" y="10943"/>
                  </a:cubicBezTo>
                  <a:lnTo>
                    <a:pt x="7526" y="10943"/>
                  </a:lnTo>
                  <a:cubicBezTo>
                    <a:pt x="7442" y="10943"/>
                    <a:pt x="7359" y="10859"/>
                    <a:pt x="7359" y="10776"/>
                  </a:cubicBezTo>
                  <a:lnTo>
                    <a:pt x="7359" y="10645"/>
                  </a:lnTo>
                  <a:cubicBezTo>
                    <a:pt x="7395" y="10645"/>
                    <a:pt x="7419" y="10657"/>
                    <a:pt x="7454" y="10657"/>
                  </a:cubicBezTo>
                  <a:lnTo>
                    <a:pt x="9050" y="10657"/>
                  </a:lnTo>
                  <a:cubicBezTo>
                    <a:pt x="9074" y="10657"/>
                    <a:pt x="9109" y="10657"/>
                    <a:pt x="9133" y="10645"/>
                  </a:cubicBezTo>
                  <a:close/>
                  <a:moveTo>
                    <a:pt x="858" y="1"/>
                  </a:moveTo>
                  <a:cubicBezTo>
                    <a:pt x="382" y="1"/>
                    <a:pt x="1" y="382"/>
                    <a:pt x="1" y="858"/>
                  </a:cubicBezTo>
                  <a:lnTo>
                    <a:pt x="1" y="5561"/>
                  </a:lnTo>
                  <a:cubicBezTo>
                    <a:pt x="1" y="6037"/>
                    <a:pt x="382" y="6430"/>
                    <a:pt x="858" y="6430"/>
                  </a:cubicBezTo>
                  <a:lnTo>
                    <a:pt x="1334" y="6430"/>
                  </a:lnTo>
                  <a:cubicBezTo>
                    <a:pt x="1430" y="6430"/>
                    <a:pt x="1501" y="6359"/>
                    <a:pt x="1501" y="6264"/>
                  </a:cubicBezTo>
                  <a:cubicBezTo>
                    <a:pt x="1501" y="6180"/>
                    <a:pt x="1430" y="6097"/>
                    <a:pt x="1334" y="6097"/>
                  </a:cubicBezTo>
                  <a:lnTo>
                    <a:pt x="858" y="6097"/>
                  </a:lnTo>
                  <a:cubicBezTo>
                    <a:pt x="572" y="6097"/>
                    <a:pt x="334" y="5859"/>
                    <a:pt x="334" y="5585"/>
                  </a:cubicBezTo>
                  <a:lnTo>
                    <a:pt x="334" y="882"/>
                  </a:lnTo>
                  <a:cubicBezTo>
                    <a:pt x="334" y="596"/>
                    <a:pt x="572" y="358"/>
                    <a:pt x="858" y="358"/>
                  </a:cubicBezTo>
                  <a:lnTo>
                    <a:pt x="8062" y="358"/>
                  </a:lnTo>
                  <a:cubicBezTo>
                    <a:pt x="8347" y="358"/>
                    <a:pt x="8585" y="596"/>
                    <a:pt x="8585" y="882"/>
                  </a:cubicBezTo>
                  <a:lnTo>
                    <a:pt x="8585" y="4001"/>
                  </a:lnTo>
                  <a:lnTo>
                    <a:pt x="8478" y="4001"/>
                  </a:lnTo>
                  <a:lnTo>
                    <a:pt x="8478" y="1215"/>
                  </a:lnTo>
                  <a:cubicBezTo>
                    <a:pt x="8478" y="822"/>
                    <a:pt x="8157" y="489"/>
                    <a:pt x="7752" y="489"/>
                  </a:cubicBezTo>
                  <a:lnTo>
                    <a:pt x="1168" y="489"/>
                  </a:lnTo>
                  <a:cubicBezTo>
                    <a:pt x="775" y="489"/>
                    <a:pt x="442" y="822"/>
                    <a:pt x="442" y="1215"/>
                  </a:cubicBezTo>
                  <a:lnTo>
                    <a:pt x="442" y="4597"/>
                  </a:lnTo>
                  <a:cubicBezTo>
                    <a:pt x="442" y="5001"/>
                    <a:pt x="775" y="5323"/>
                    <a:pt x="1168" y="5323"/>
                  </a:cubicBezTo>
                  <a:lnTo>
                    <a:pt x="3370" y="5323"/>
                  </a:lnTo>
                  <a:lnTo>
                    <a:pt x="3370" y="6085"/>
                  </a:lnTo>
                  <a:lnTo>
                    <a:pt x="2001" y="6085"/>
                  </a:lnTo>
                  <a:cubicBezTo>
                    <a:pt x="1918" y="6085"/>
                    <a:pt x="1846" y="6156"/>
                    <a:pt x="1846" y="6252"/>
                  </a:cubicBezTo>
                  <a:cubicBezTo>
                    <a:pt x="1846" y="6335"/>
                    <a:pt x="1918" y="6418"/>
                    <a:pt x="2001" y="6418"/>
                  </a:cubicBezTo>
                  <a:lnTo>
                    <a:pt x="3109" y="6418"/>
                  </a:lnTo>
                  <a:lnTo>
                    <a:pt x="2811" y="6978"/>
                  </a:lnTo>
                  <a:lnTo>
                    <a:pt x="2656" y="6978"/>
                  </a:lnTo>
                  <a:cubicBezTo>
                    <a:pt x="2561" y="6978"/>
                    <a:pt x="2454" y="7026"/>
                    <a:pt x="2358" y="7097"/>
                  </a:cubicBezTo>
                  <a:cubicBezTo>
                    <a:pt x="2287" y="7168"/>
                    <a:pt x="2239" y="7276"/>
                    <a:pt x="2239" y="7395"/>
                  </a:cubicBezTo>
                  <a:cubicBezTo>
                    <a:pt x="2239" y="7621"/>
                    <a:pt x="2418" y="7811"/>
                    <a:pt x="2656" y="7811"/>
                  </a:cubicBezTo>
                  <a:lnTo>
                    <a:pt x="3394" y="7811"/>
                  </a:lnTo>
                  <a:lnTo>
                    <a:pt x="3394" y="9276"/>
                  </a:lnTo>
                  <a:lnTo>
                    <a:pt x="3192" y="9276"/>
                  </a:lnTo>
                  <a:cubicBezTo>
                    <a:pt x="3001" y="9276"/>
                    <a:pt x="2835" y="9431"/>
                    <a:pt x="2835" y="9633"/>
                  </a:cubicBezTo>
                  <a:cubicBezTo>
                    <a:pt x="2835" y="9823"/>
                    <a:pt x="2918" y="10002"/>
                    <a:pt x="3049" y="10145"/>
                  </a:cubicBezTo>
                  <a:cubicBezTo>
                    <a:pt x="3180" y="10288"/>
                    <a:pt x="3370" y="10359"/>
                    <a:pt x="3573" y="10359"/>
                  </a:cubicBezTo>
                  <a:lnTo>
                    <a:pt x="7049" y="10359"/>
                  </a:lnTo>
                  <a:lnTo>
                    <a:pt x="7049" y="10788"/>
                  </a:lnTo>
                  <a:cubicBezTo>
                    <a:pt x="7049" y="11062"/>
                    <a:pt x="7276" y="11300"/>
                    <a:pt x="7550" y="11300"/>
                  </a:cubicBezTo>
                  <a:lnTo>
                    <a:pt x="9002" y="11300"/>
                  </a:lnTo>
                  <a:cubicBezTo>
                    <a:pt x="9264" y="11300"/>
                    <a:pt x="9502" y="11074"/>
                    <a:pt x="9502" y="10788"/>
                  </a:cubicBezTo>
                  <a:lnTo>
                    <a:pt x="9502" y="10359"/>
                  </a:lnTo>
                  <a:lnTo>
                    <a:pt x="10621" y="10359"/>
                  </a:lnTo>
                  <a:cubicBezTo>
                    <a:pt x="11026" y="10359"/>
                    <a:pt x="11348" y="10026"/>
                    <a:pt x="11348" y="9633"/>
                  </a:cubicBezTo>
                  <a:cubicBezTo>
                    <a:pt x="11324" y="9526"/>
                    <a:pt x="11276" y="9431"/>
                    <a:pt x="11217" y="9371"/>
                  </a:cubicBezTo>
                  <a:cubicBezTo>
                    <a:pt x="11157" y="9312"/>
                    <a:pt x="11074" y="9276"/>
                    <a:pt x="10967" y="9276"/>
                  </a:cubicBezTo>
                  <a:lnTo>
                    <a:pt x="10776" y="9276"/>
                  </a:lnTo>
                  <a:lnTo>
                    <a:pt x="10776" y="4906"/>
                  </a:lnTo>
                  <a:cubicBezTo>
                    <a:pt x="10776" y="4418"/>
                    <a:pt x="10371" y="4013"/>
                    <a:pt x="9883" y="4013"/>
                  </a:cubicBezTo>
                  <a:lnTo>
                    <a:pt x="8931" y="4013"/>
                  </a:lnTo>
                  <a:lnTo>
                    <a:pt x="8931" y="858"/>
                  </a:lnTo>
                  <a:cubicBezTo>
                    <a:pt x="8931" y="382"/>
                    <a:pt x="8538" y="1"/>
                    <a:pt x="8062" y="1"/>
                  </a:cubicBezTo>
                  <a:close/>
                </a:path>
              </a:pathLst>
            </a:custGeom>
            <a:solidFill>
              <a:srgbClr val="FFFFFF"/>
            </a:solidFill>
            <a:ln>
              <a:noFill/>
            </a:ln>
          </p:spPr>
          <p:txBody>
            <a:bodyPr spcFirstLastPara="1" wrap="square" lIns="99044" tIns="99044" rIns="99044" bIns="99044" anchor="ctr" anchorCtr="0">
              <a:noAutofit/>
            </a:bodyPr>
            <a:lstStyle/>
            <a:p>
              <a:endParaRPr sz="1950" dirty="0"/>
            </a:p>
          </p:txBody>
        </p:sp>
      </p:grpSp>
    </p:spTree>
    <p:extLst>
      <p:ext uri="{BB962C8B-B14F-4D97-AF65-F5344CB8AC3E}">
        <p14:creationId xmlns:p14="http://schemas.microsoft.com/office/powerpoint/2010/main" val="185898093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F492A-1758-4D84-BCE6-185911AE594E}"/>
              </a:ext>
            </a:extLst>
          </p:cNvPr>
          <p:cNvSpPr>
            <a:spLocks noGrp="1"/>
          </p:cNvSpPr>
          <p:nvPr>
            <p:ph type="title"/>
          </p:nvPr>
        </p:nvSpPr>
        <p:spPr/>
        <p:txBody>
          <a:bodyPr/>
          <a:lstStyle/>
          <a:p>
            <a:r>
              <a:rPr lang="en" dirty="0"/>
              <a:t>10 </a:t>
            </a:r>
            <a:r>
              <a:rPr lang="en-IN" dirty="0"/>
              <a:t>Principles of GMP 1/2</a:t>
            </a:r>
          </a:p>
        </p:txBody>
      </p:sp>
      <p:sp>
        <p:nvSpPr>
          <p:cNvPr id="4" name="Date Placeholder 3">
            <a:extLst>
              <a:ext uri="{FF2B5EF4-FFF2-40B4-BE49-F238E27FC236}">
                <a16:creationId xmlns:a16="http://schemas.microsoft.com/office/drawing/2014/main" id="{08C31D4F-D138-4826-9885-19C278E268AD}"/>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D43B7282-D888-4803-85E8-575558DBE184}"/>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8555E370-1885-4A70-8003-566C95A25246}"/>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2</a:t>
            </a:fld>
            <a:endParaRPr lang="en-US" dirty="0">
              <a:solidFill>
                <a:srgbClr val="F79646">
                  <a:lumMod val="75000"/>
                </a:srgbClr>
              </a:solidFill>
            </a:endParaRPr>
          </a:p>
        </p:txBody>
      </p:sp>
      <p:grpSp>
        <p:nvGrpSpPr>
          <p:cNvPr id="7" name="Group 6">
            <a:extLst>
              <a:ext uri="{FF2B5EF4-FFF2-40B4-BE49-F238E27FC236}">
                <a16:creationId xmlns:a16="http://schemas.microsoft.com/office/drawing/2014/main" id="{5CBDEAEF-A8F3-4205-8EE2-6E12995644A4}"/>
              </a:ext>
            </a:extLst>
          </p:cNvPr>
          <p:cNvGrpSpPr/>
          <p:nvPr/>
        </p:nvGrpSpPr>
        <p:grpSpPr>
          <a:xfrm>
            <a:off x="799433" y="1447800"/>
            <a:ext cx="8344567" cy="4218764"/>
            <a:chOff x="152400" y="1996319"/>
            <a:chExt cx="8344567" cy="4218764"/>
          </a:xfrm>
        </p:grpSpPr>
        <p:sp>
          <p:nvSpPr>
            <p:cNvPr id="8" name="Google Shape;790;p29">
              <a:extLst>
                <a:ext uri="{FF2B5EF4-FFF2-40B4-BE49-F238E27FC236}">
                  <a16:creationId xmlns:a16="http://schemas.microsoft.com/office/drawing/2014/main" id="{B89C2D11-7CC8-492E-B9A7-53833A12FE12}"/>
                </a:ext>
              </a:extLst>
            </p:cNvPr>
            <p:cNvSpPr/>
            <p:nvPr/>
          </p:nvSpPr>
          <p:spPr>
            <a:xfrm>
              <a:off x="4901082" y="1996319"/>
              <a:ext cx="103865" cy="4218764"/>
            </a:xfrm>
            <a:custGeom>
              <a:avLst/>
              <a:gdLst/>
              <a:ahLst/>
              <a:cxnLst/>
              <a:rect l="l" t="t" r="r" b="b"/>
              <a:pathLst>
                <a:path w="3835" h="137351" extrusionOk="0">
                  <a:moveTo>
                    <a:pt x="1918" y="0"/>
                  </a:moveTo>
                  <a:cubicBezTo>
                    <a:pt x="858" y="0"/>
                    <a:pt x="1" y="857"/>
                    <a:pt x="1" y="1917"/>
                  </a:cubicBezTo>
                  <a:lnTo>
                    <a:pt x="1" y="137350"/>
                  </a:lnTo>
                  <a:lnTo>
                    <a:pt x="3835" y="137350"/>
                  </a:lnTo>
                  <a:lnTo>
                    <a:pt x="3835" y="1917"/>
                  </a:lnTo>
                  <a:cubicBezTo>
                    <a:pt x="3835" y="857"/>
                    <a:pt x="2977" y="0"/>
                    <a:pt x="1918" y="0"/>
                  </a:cubicBezTo>
                  <a:close/>
                </a:path>
              </a:pathLst>
            </a:custGeom>
            <a:solidFill>
              <a:srgbClr val="AFBDC6"/>
            </a:solidFill>
            <a:ln>
              <a:noFill/>
            </a:ln>
          </p:spPr>
          <p:txBody>
            <a:bodyPr spcFirstLastPara="1" wrap="square" lIns="99044" tIns="99044" rIns="99044" bIns="99044" anchor="ctr" anchorCtr="0">
              <a:noAutofit/>
            </a:bodyPr>
            <a:lstStyle/>
            <a:p>
              <a:endParaRPr sz="1950"/>
            </a:p>
          </p:txBody>
        </p:sp>
        <p:grpSp>
          <p:nvGrpSpPr>
            <p:cNvPr id="9" name="Google Shape;791;p29">
              <a:extLst>
                <a:ext uri="{FF2B5EF4-FFF2-40B4-BE49-F238E27FC236}">
                  <a16:creationId xmlns:a16="http://schemas.microsoft.com/office/drawing/2014/main" id="{EE635062-8C92-486C-846E-7F84D2134446}"/>
                </a:ext>
              </a:extLst>
            </p:cNvPr>
            <p:cNvGrpSpPr/>
            <p:nvPr/>
          </p:nvGrpSpPr>
          <p:grpSpPr>
            <a:xfrm>
              <a:off x="4901068" y="4184050"/>
              <a:ext cx="3595899" cy="583700"/>
              <a:chOff x="4524063" y="3268719"/>
              <a:chExt cx="3319292" cy="538800"/>
            </a:xfrm>
          </p:grpSpPr>
          <p:sp>
            <p:nvSpPr>
              <p:cNvPr id="40" name="Google Shape;792;p29">
                <a:extLst>
                  <a:ext uri="{FF2B5EF4-FFF2-40B4-BE49-F238E27FC236}">
                    <a16:creationId xmlns:a16="http://schemas.microsoft.com/office/drawing/2014/main" id="{809FD3E9-B5B6-4C62-923B-784CC7733580}"/>
                  </a:ext>
                </a:extLst>
              </p:cNvPr>
              <p:cNvSpPr/>
              <p:nvPr/>
            </p:nvSpPr>
            <p:spPr>
              <a:xfrm>
                <a:off x="4998850" y="3339574"/>
                <a:ext cx="1422982" cy="397100"/>
              </a:xfrm>
              <a:custGeom>
                <a:avLst/>
                <a:gdLst/>
                <a:ahLst/>
                <a:cxnLst/>
                <a:rect l="l" t="t" r="r" b="b"/>
                <a:pathLst>
                  <a:path w="66116" h="15884" fill="none" extrusionOk="0">
                    <a:moveTo>
                      <a:pt x="0" y="15884"/>
                    </a:moveTo>
                    <a:lnTo>
                      <a:pt x="66116" y="15884"/>
                    </a:lnTo>
                    <a:lnTo>
                      <a:pt x="60436" y="7847"/>
                    </a:lnTo>
                    <a:lnTo>
                      <a:pt x="66116" y="1"/>
                    </a:lnTo>
                    <a:lnTo>
                      <a:pt x="0"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4"/>
                    </a:solidFill>
                    <a:latin typeface="Fira Sans Extra Condensed Medium"/>
                    <a:ea typeface="Fira Sans Extra Condensed Medium"/>
                    <a:cs typeface="Fira Sans Extra Condensed Medium"/>
                    <a:sym typeface="Fira Sans Extra Condensed Medium"/>
                  </a:rPr>
                  <a:t>5.Monitor </a:t>
                </a:r>
                <a:endParaRPr sz="1950" dirty="0">
                  <a:solidFill>
                    <a:schemeClr val="accent4"/>
                  </a:solidFill>
                </a:endParaRPr>
              </a:p>
            </p:txBody>
          </p:sp>
          <p:sp>
            <p:nvSpPr>
              <p:cNvPr id="41" name="Google Shape;793;p29">
                <a:extLst>
                  <a:ext uri="{FF2B5EF4-FFF2-40B4-BE49-F238E27FC236}">
                    <a16:creationId xmlns:a16="http://schemas.microsoft.com/office/drawing/2014/main" id="{BB15D595-9ACA-463F-9CD8-4DABD03CB445}"/>
                  </a:ext>
                </a:extLst>
              </p:cNvPr>
              <p:cNvSpPr/>
              <p:nvPr/>
            </p:nvSpPr>
            <p:spPr>
              <a:xfrm>
                <a:off x="4524063" y="3268719"/>
                <a:ext cx="560225" cy="538800"/>
              </a:xfrm>
              <a:custGeom>
                <a:avLst/>
                <a:gdLst/>
                <a:ahLst/>
                <a:cxnLst/>
                <a:rect l="l" t="t" r="r" b="b"/>
                <a:pathLst>
                  <a:path w="22409" h="21552" extrusionOk="0">
                    <a:moveTo>
                      <a:pt x="1" y="1"/>
                    </a:moveTo>
                    <a:lnTo>
                      <a:pt x="1" y="21551"/>
                    </a:lnTo>
                    <a:lnTo>
                      <a:pt x="22408" y="21551"/>
                    </a:lnTo>
                    <a:lnTo>
                      <a:pt x="22408" y="1"/>
                    </a:lnTo>
                    <a:close/>
                  </a:path>
                </a:pathLst>
              </a:custGeom>
              <a:solidFill>
                <a:schemeClr val="accent4"/>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42" name="Google Shape;794;p29">
                <a:extLst>
                  <a:ext uri="{FF2B5EF4-FFF2-40B4-BE49-F238E27FC236}">
                    <a16:creationId xmlns:a16="http://schemas.microsoft.com/office/drawing/2014/main" id="{8BFE6C63-1143-4F3E-BF58-E79A74057D6B}"/>
                  </a:ext>
                </a:extLst>
              </p:cNvPr>
              <p:cNvSpPr txBox="1"/>
              <p:nvPr/>
            </p:nvSpPr>
            <p:spPr>
              <a:xfrm>
                <a:off x="6464276" y="3270669"/>
                <a:ext cx="1379079" cy="534900"/>
              </a:xfrm>
              <a:prstGeom prst="rect">
                <a:avLst/>
              </a:prstGeom>
              <a:noFill/>
              <a:ln>
                <a:noFill/>
              </a:ln>
            </p:spPr>
            <p:txBody>
              <a:bodyPr spcFirstLastPara="1" wrap="square" lIns="99044" tIns="99044" rIns="99044" bIns="99044" anchor="ctr" anchorCtr="0">
                <a:noAutofit/>
              </a:bodyPr>
              <a:lstStyle/>
              <a:p>
                <a:pPr algn="r"/>
                <a:r>
                  <a:rPr lang="en-US" sz="1400" dirty="0">
                    <a:solidFill>
                      <a:srgbClr val="293745"/>
                    </a:solidFill>
                    <a:latin typeface="inherit"/>
                  </a:rPr>
                  <a:t>The facilities and equipment</a:t>
                </a:r>
                <a:endParaRPr sz="1300" dirty="0">
                  <a:latin typeface="Roboto"/>
                  <a:ea typeface="Roboto"/>
                  <a:cs typeface="Roboto"/>
                  <a:sym typeface="Roboto"/>
                </a:endParaRPr>
              </a:p>
            </p:txBody>
          </p:sp>
        </p:grpSp>
        <p:grpSp>
          <p:nvGrpSpPr>
            <p:cNvPr id="10" name="Google Shape;795;p29">
              <a:extLst>
                <a:ext uri="{FF2B5EF4-FFF2-40B4-BE49-F238E27FC236}">
                  <a16:creationId xmlns:a16="http://schemas.microsoft.com/office/drawing/2014/main" id="{856E6D10-AD48-4781-BA2E-583FDD94736E}"/>
                </a:ext>
              </a:extLst>
            </p:cNvPr>
            <p:cNvGrpSpPr/>
            <p:nvPr/>
          </p:nvGrpSpPr>
          <p:grpSpPr>
            <a:xfrm>
              <a:off x="4901068" y="2810695"/>
              <a:ext cx="3595899" cy="583348"/>
              <a:chOff x="4524063" y="2001006"/>
              <a:chExt cx="3319292" cy="538475"/>
            </a:xfrm>
          </p:grpSpPr>
          <p:sp>
            <p:nvSpPr>
              <p:cNvPr id="37" name="Google Shape;796;p29">
                <a:extLst>
                  <a:ext uri="{FF2B5EF4-FFF2-40B4-BE49-F238E27FC236}">
                    <a16:creationId xmlns:a16="http://schemas.microsoft.com/office/drawing/2014/main" id="{161510B9-41F5-4142-A8EE-B56DA0FB6902}"/>
                  </a:ext>
                </a:extLst>
              </p:cNvPr>
              <p:cNvSpPr/>
              <p:nvPr/>
            </p:nvSpPr>
            <p:spPr>
              <a:xfrm>
                <a:off x="4998850" y="2071550"/>
                <a:ext cx="1422982" cy="397375"/>
              </a:xfrm>
              <a:custGeom>
                <a:avLst/>
                <a:gdLst/>
                <a:ahLst/>
                <a:cxnLst/>
                <a:rect l="l" t="t" r="r" b="b"/>
                <a:pathLst>
                  <a:path w="66116" h="15895" fill="none" extrusionOk="0">
                    <a:moveTo>
                      <a:pt x="0" y="15895"/>
                    </a:moveTo>
                    <a:lnTo>
                      <a:pt x="66116" y="15895"/>
                    </a:lnTo>
                    <a:lnTo>
                      <a:pt x="60436" y="7858"/>
                    </a:lnTo>
                    <a:lnTo>
                      <a:pt x="66116" y="0"/>
                    </a:lnTo>
                    <a:lnTo>
                      <a:pt x="0" y="0"/>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2"/>
                    </a:solidFill>
                    <a:latin typeface="Fira Sans Extra Condensed Medium"/>
                    <a:ea typeface="Fira Sans Extra Condensed Medium"/>
                    <a:cs typeface="Fira Sans Extra Condensed Medium"/>
                    <a:sym typeface="Fira Sans Extra Condensed Medium"/>
                  </a:rPr>
                  <a:t>4.Document </a:t>
                </a:r>
                <a:endParaRPr sz="1950" dirty="0">
                  <a:solidFill>
                    <a:schemeClr val="accent2"/>
                  </a:solidFill>
                </a:endParaRPr>
              </a:p>
            </p:txBody>
          </p:sp>
          <p:sp>
            <p:nvSpPr>
              <p:cNvPr id="38" name="Google Shape;797;p29">
                <a:extLst>
                  <a:ext uri="{FF2B5EF4-FFF2-40B4-BE49-F238E27FC236}">
                    <a16:creationId xmlns:a16="http://schemas.microsoft.com/office/drawing/2014/main" id="{050B2389-B10B-49A8-90BC-5785875A9719}"/>
                  </a:ext>
                </a:extLst>
              </p:cNvPr>
              <p:cNvSpPr/>
              <p:nvPr/>
            </p:nvSpPr>
            <p:spPr>
              <a:xfrm>
                <a:off x="4524063" y="2001006"/>
                <a:ext cx="560225" cy="538475"/>
              </a:xfrm>
              <a:custGeom>
                <a:avLst/>
                <a:gdLst/>
                <a:ahLst/>
                <a:cxnLst/>
                <a:rect l="l" t="t" r="r" b="b"/>
                <a:pathLst>
                  <a:path w="22409" h="21539" extrusionOk="0">
                    <a:moveTo>
                      <a:pt x="1" y="0"/>
                    </a:moveTo>
                    <a:lnTo>
                      <a:pt x="1" y="21539"/>
                    </a:lnTo>
                    <a:lnTo>
                      <a:pt x="22408" y="21539"/>
                    </a:lnTo>
                    <a:lnTo>
                      <a:pt x="22408" y="0"/>
                    </a:lnTo>
                    <a:close/>
                  </a:path>
                </a:pathLst>
              </a:custGeom>
              <a:solidFill>
                <a:schemeClr val="accent2"/>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9" name="Google Shape;798;p29">
                <a:extLst>
                  <a:ext uri="{FF2B5EF4-FFF2-40B4-BE49-F238E27FC236}">
                    <a16:creationId xmlns:a16="http://schemas.microsoft.com/office/drawing/2014/main" id="{E3006410-C820-4C8F-A4D1-286EE1668C02}"/>
                  </a:ext>
                </a:extLst>
              </p:cNvPr>
              <p:cNvSpPr txBox="1"/>
              <p:nvPr/>
            </p:nvSpPr>
            <p:spPr>
              <a:xfrm>
                <a:off x="6464276" y="2002788"/>
                <a:ext cx="1379079" cy="534900"/>
              </a:xfrm>
              <a:prstGeom prst="rect">
                <a:avLst/>
              </a:prstGeom>
              <a:noFill/>
              <a:ln>
                <a:noFill/>
              </a:ln>
            </p:spPr>
            <p:txBody>
              <a:bodyPr spcFirstLastPara="1" wrap="square" lIns="99044" tIns="99044" rIns="99044" bIns="99044" anchor="ctr" anchorCtr="0">
                <a:noAutofit/>
              </a:bodyPr>
              <a:lstStyle/>
              <a:p>
                <a:pPr algn="r"/>
                <a:r>
                  <a:rPr lang="en-IN" sz="1400" dirty="0">
                    <a:solidFill>
                      <a:srgbClr val="293745"/>
                    </a:solidFill>
                    <a:latin typeface="inherit"/>
                    <a:sym typeface="Roboto"/>
                  </a:rPr>
                  <a:t>Thoroughly</a:t>
                </a:r>
                <a:endParaRPr sz="1400" dirty="0">
                  <a:solidFill>
                    <a:srgbClr val="293745"/>
                  </a:solidFill>
                  <a:latin typeface="inherit"/>
                  <a:sym typeface="Roboto"/>
                </a:endParaRPr>
              </a:p>
            </p:txBody>
          </p:sp>
        </p:grpSp>
        <p:grpSp>
          <p:nvGrpSpPr>
            <p:cNvPr id="11" name="Google Shape;799;p29">
              <a:extLst>
                <a:ext uri="{FF2B5EF4-FFF2-40B4-BE49-F238E27FC236}">
                  <a16:creationId xmlns:a16="http://schemas.microsoft.com/office/drawing/2014/main" id="{5ACC7DF6-048B-4F40-8431-0C29758B6417}"/>
                </a:ext>
              </a:extLst>
            </p:cNvPr>
            <p:cNvGrpSpPr/>
            <p:nvPr/>
          </p:nvGrpSpPr>
          <p:grpSpPr>
            <a:xfrm>
              <a:off x="769466" y="4871080"/>
              <a:ext cx="4235466" cy="583673"/>
              <a:chOff x="710276" y="3902900"/>
              <a:chExt cx="3909661" cy="538775"/>
            </a:xfrm>
          </p:grpSpPr>
          <p:sp>
            <p:nvSpPr>
              <p:cNvPr id="34" name="Google Shape;800;p29">
                <a:extLst>
                  <a:ext uri="{FF2B5EF4-FFF2-40B4-BE49-F238E27FC236}">
                    <a16:creationId xmlns:a16="http://schemas.microsoft.com/office/drawing/2014/main" id="{21ADD16E-39DB-436D-AEF9-09113345216E}"/>
                  </a:ext>
                </a:extLst>
              </p:cNvPr>
              <p:cNvSpPr/>
              <p:nvPr/>
            </p:nvSpPr>
            <p:spPr>
              <a:xfrm>
                <a:off x="2722199" y="3973725"/>
                <a:ext cx="1422982" cy="397100"/>
              </a:xfrm>
              <a:custGeom>
                <a:avLst/>
                <a:gdLst/>
                <a:ahLst/>
                <a:cxnLst/>
                <a:rect l="l" t="t" r="r" b="b"/>
                <a:pathLst>
                  <a:path w="66116" h="15884" fill="none" extrusionOk="0">
                    <a:moveTo>
                      <a:pt x="66116" y="15884"/>
                    </a:moveTo>
                    <a:lnTo>
                      <a:pt x="1" y="15884"/>
                    </a:lnTo>
                    <a:lnTo>
                      <a:pt x="5680" y="7847"/>
                    </a:lnTo>
                    <a:lnTo>
                      <a:pt x="1" y="1"/>
                    </a:lnTo>
                    <a:lnTo>
                      <a:pt x="66116"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6"/>
                    </a:solidFill>
                    <a:latin typeface="Fira Sans Extra Condensed Medium"/>
                    <a:ea typeface="Fira Sans Extra Condensed Medium"/>
                    <a:cs typeface="Fira Sans Extra Condensed Medium"/>
                    <a:sym typeface="Fira Sans Extra Condensed Medium"/>
                  </a:rPr>
                  <a:t>3.Validate</a:t>
                </a:r>
                <a:endParaRPr sz="1950" dirty="0">
                  <a:solidFill>
                    <a:schemeClr val="accent6"/>
                  </a:solidFill>
                </a:endParaRPr>
              </a:p>
            </p:txBody>
          </p:sp>
          <p:sp>
            <p:nvSpPr>
              <p:cNvPr id="35" name="Google Shape;801;p29">
                <a:extLst>
                  <a:ext uri="{FF2B5EF4-FFF2-40B4-BE49-F238E27FC236}">
                    <a16:creationId xmlns:a16="http://schemas.microsoft.com/office/drawing/2014/main" id="{0F7D1E70-10E9-4BA3-A0A5-429A4E483005}"/>
                  </a:ext>
                </a:extLst>
              </p:cNvPr>
              <p:cNvSpPr/>
              <p:nvPr/>
            </p:nvSpPr>
            <p:spPr>
              <a:xfrm>
                <a:off x="4059738" y="3902900"/>
                <a:ext cx="560200" cy="538775"/>
              </a:xfrm>
              <a:custGeom>
                <a:avLst/>
                <a:gdLst/>
                <a:ahLst/>
                <a:cxnLst/>
                <a:rect l="l" t="t" r="r" b="b"/>
                <a:pathLst>
                  <a:path w="22408" h="21551" extrusionOk="0">
                    <a:moveTo>
                      <a:pt x="0" y="0"/>
                    </a:moveTo>
                    <a:lnTo>
                      <a:pt x="0" y="21551"/>
                    </a:lnTo>
                    <a:lnTo>
                      <a:pt x="22408" y="21551"/>
                    </a:lnTo>
                    <a:lnTo>
                      <a:pt x="22408" y="0"/>
                    </a:lnTo>
                    <a:close/>
                  </a:path>
                </a:pathLst>
              </a:custGeom>
              <a:solidFill>
                <a:schemeClr val="accent6"/>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6" name="Google Shape;802;p29">
                <a:extLst>
                  <a:ext uri="{FF2B5EF4-FFF2-40B4-BE49-F238E27FC236}">
                    <a16:creationId xmlns:a16="http://schemas.microsoft.com/office/drawing/2014/main" id="{ED9948EF-AD28-434D-B6B7-61C0F420249B}"/>
                  </a:ext>
                </a:extLst>
              </p:cNvPr>
              <p:cNvSpPr txBox="1"/>
              <p:nvPr/>
            </p:nvSpPr>
            <p:spPr>
              <a:xfrm>
                <a:off x="710276" y="3904838"/>
                <a:ext cx="1807200" cy="534900"/>
              </a:xfrm>
              <a:prstGeom prst="rect">
                <a:avLst/>
              </a:prstGeom>
              <a:noFill/>
              <a:ln>
                <a:noFill/>
              </a:ln>
            </p:spPr>
            <p:txBody>
              <a:bodyPr spcFirstLastPara="1" wrap="square" lIns="99044" tIns="99044" rIns="99044" bIns="99044" anchor="ctr" anchorCtr="0">
                <a:noAutofit/>
              </a:bodyPr>
              <a:lstStyle/>
              <a:p>
                <a:r>
                  <a:rPr lang="en-US" sz="1400" dirty="0">
                    <a:solidFill>
                      <a:srgbClr val="293745"/>
                    </a:solidFill>
                    <a:latin typeface="inherit"/>
                  </a:rPr>
                  <a:t>The SOP and specifications</a:t>
                </a:r>
                <a:endParaRPr sz="1300" dirty="0">
                  <a:latin typeface="Roboto"/>
                  <a:ea typeface="Roboto"/>
                  <a:cs typeface="Roboto"/>
                  <a:sym typeface="Roboto"/>
                </a:endParaRPr>
              </a:p>
            </p:txBody>
          </p:sp>
        </p:grpSp>
        <p:grpSp>
          <p:nvGrpSpPr>
            <p:cNvPr id="12" name="Google Shape;803;p29">
              <a:extLst>
                <a:ext uri="{FF2B5EF4-FFF2-40B4-BE49-F238E27FC236}">
                  <a16:creationId xmlns:a16="http://schemas.microsoft.com/office/drawing/2014/main" id="{7ADF1966-3EBD-4E69-9B17-A0643D633A9A}"/>
                </a:ext>
              </a:extLst>
            </p:cNvPr>
            <p:cNvGrpSpPr/>
            <p:nvPr/>
          </p:nvGrpSpPr>
          <p:grpSpPr>
            <a:xfrm>
              <a:off x="769465" y="3497373"/>
              <a:ext cx="4235468" cy="583348"/>
              <a:chOff x="710275" y="2634863"/>
              <a:chExt cx="3909663" cy="538475"/>
            </a:xfrm>
          </p:grpSpPr>
          <p:sp>
            <p:nvSpPr>
              <p:cNvPr id="31" name="Google Shape;804;p29">
                <a:extLst>
                  <a:ext uri="{FF2B5EF4-FFF2-40B4-BE49-F238E27FC236}">
                    <a16:creationId xmlns:a16="http://schemas.microsoft.com/office/drawing/2014/main" id="{7F8B8EA7-8855-4061-838E-EE06B3306718}"/>
                  </a:ext>
                </a:extLst>
              </p:cNvPr>
              <p:cNvSpPr/>
              <p:nvPr/>
            </p:nvSpPr>
            <p:spPr>
              <a:xfrm>
                <a:off x="2722199" y="2705413"/>
                <a:ext cx="1422982" cy="397400"/>
              </a:xfrm>
              <a:custGeom>
                <a:avLst/>
                <a:gdLst/>
                <a:ahLst/>
                <a:cxnLst/>
                <a:rect l="l" t="t" r="r" b="b"/>
                <a:pathLst>
                  <a:path w="66116" h="15896" fill="none" extrusionOk="0">
                    <a:moveTo>
                      <a:pt x="66116" y="15895"/>
                    </a:moveTo>
                    <a:lnTo>
                      <a:pt x="1" y="15895"/>
                    </a:lnTo>
                    <a:lnTo>
                      <a:pt x="5680" y="7859"/>
                    </a:lnTo>
                    <a:lnTo>
                      <a:pt x="1" y="0"/>
                    </a:lnTo>
                    <a:lnTo>
                      <a:pt x="66116" y="0"/>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US" sz="1842" dirty="0">
                    <a:solidFill>
                      <a:schemeClr val="accent3"/>
                    </a:solidFill>
                    <a:latin typeface="Fira Sans Extra Condensed Medium"/>
                  </a:rPr>
                  <a:t>2.Follow</a:t>
                </a:r>
                <a:endParaRPr sz="1842" dirty="0">
                  <a:solidFill>
                    <a:schemeClr val="accent3"/>
                  </a:solidFill>
                  <a:latin typeface="Fira Sans Extra Condensed Medium"/>
                </a:endParaRPr>
              </a:p>
            </p:txBody>
          </p:sp>
          <p:sp>
            <p:nvSpPr>
              <p:cNvPr id="32" name="Google Shape;805;p29">
                <a:extLst>
                  <a:ext uri="{FF2B5EF4-FFF2-40B4-BE49-F238E27FC236}">
                    <a16:creationId xmlns:a16="http://schemas.microsoft.com/office/drawing/2014/main" id="{55A40202-A34B-405F-94F0-860491EDCB65}"/>
                  </a:ext>
                </a:extLst>
              </p:cNvPr>
              <p:cNvSpPr/>
              <p:nvPr/>
            </p:nvSpPr>
            <p:spPr>
              <a:xfrm>
                <a:off x="4059738" y="2634863"/>
                <a:ext cx="560200" cy="538475"/>
              </a:xfrm>
              <a:custGeom>
                <a:avLst/>
                <a:gdLst/>
                <a:ahLst/>
                <a:cxnLst/>
                <a:rect l="l" t="t" r="r" b="b"/>
                <a:pathLst>
                  <a:path w="22408" h="21539" extrusionOk="0">
                    <a:moveTo>
                      <a:pt x="0" y="1"/>
                    </a:moveTo>
                    <a:lnTo>
                      <a:pt x="0" y="21539"/>
                    </a:lnTo>
                    <a:lnTo>
                      <a:pt x="22408" y="21539"/>
                    </a:lnTo>
                    <a:lnTo>
                      <a:pt x="22408" y="1"/>
                    </a:lnTo>
                    <a:close/>
                  </a:path>
                </a:pathLst>
              </a:custGeom>
              <a:solidFill>
                <a:schemeClr val="accent3"/>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3" name="Google Shape;806;p29">
                <a:extLst>
                  <a:ext uri="{FF2B5EF4-FFF2-40B4-BE49-F238E27FC236}">
                    <a16:creationId xmlns:a16="http://schemas.microsoft.com/office/drawing/2014/main" id="{AE671FF5-40F0-4E67-BFD0-CA55A997F2FB}"/>
                  </a:ext>
                </a:extLst>
              </p:cNvPr>
              <p:cNvSpPr txBox="1"/>
              <p:nvPr/>
            </p:nvSpPr>
            <p:spPr>
              <a:xfrm>
                <a:off x="710275" y="2636675"/>
                <a:ext cx="1807200" cy="534900"/>
              </a:xfrm>
              <a:prstGeom prst="rect">
                <a:avLst/>
              </a:prstGeom>
              <a:noFill/>
              <a:ln>
                <a:noFill/>
              </a:ln>
            </p:spPr>
            <p:txBody>
              <a:bodyPr spcFirstLastPara="1" wrap="square" lIns="99044" tIns="99044" rIns="99044" bIns="99044" anchor="ctr" anchorCtr="0">
                <a:noAutofit/>
              </a:bodyPr>
              <a:lstStyle/>
              <a:p>
                <a:r>
                  <a:rPr lang="en-US" sz="1400" dirty="0">
                    <a:solidFill>
                      <a:srgbClr val="293745"/>
                    </a:solidFill>
                    <a:latin typeface="inherit"/>
                  </a:rPr>
                  <a:t>The SOP and specifications</a:t>
                </a:r>
                <a:endParaRPr sz="1300" dirty="0">
                  <a:latin typeface="Roboto"/>
                  <a:ea typeface="Roboto"/>
                  <a:cs typeface="Roboto"/>
                  <a:sym typeface="Roboto"/>
                </a:endParaRPr>
              </a:p>
            </p:txBody>
          </p:sp>
        </p:grpSp>
        <p:grpSp>
          <p:nvGrpSpPr>
            <p:cNvPr id="13" name="Google Shape;807;p29">
              <a:extLst>
                <a:ext uri="{FF2B5EF4-FFF2-40B4-BE49-F238E27FC236}">
                  <a16:creationId xmlns:a16="http://schemas.microsoft.com/office/drawing/2014/main" id="{8EB71E6A-9291-4962-9438-FAAFA097B925}"/>
                </a:ext>
              </a:extLst>
            </p:cNvPr>
            <p:cNvGrpSpPr/>
            <p:nvPr/>
          </p:nvGrpSpPr>
          <p:grpSpPr>
            <a:xfrm>
              <a:off x="152400" y="2123691"/>
              <a:ext cx="4852532" cy="763425"/>
              <a:chOff x="140677" y="1366850"/>
              <a:chExt cx="4479261" cy="704700"/>
            </a:xfrm>
          </p:grpSpPr>
          <p:sp>
            <p:nvSpPr>
              <p:cNvPr id="28" name="Google Shape;808;p29">
                <a:extLst>
                  <a:ext uri="{FF2B5EF4-FFF2-40B4-BE49-F238E27FC236}">
                    <a16:creationId xmlns:a16="http://schemas.microsoft.com/office/drawing/2014/main" id="{B14A4490-C30C-44DA-8CF8-41EF9C4F1F14}"/>
                  </a:ext>
                </a:extLst>
              </p:cNvPr>
              <p:cNvSpPr/>
              <p:nvPr/>
            </p:nvSpPr>
            <p:spPr>
              <a:xfrm>
                <a:off x="2722199" y="1437675"/>
                <a:ext cx="1422982" cy="397100"/>
              </a:xfrm>
              <a:custGeom>
                <a:avLst/>
                <a:gdLst/>
                <a:ahLst/>
                <a:cxnLst/>
                <a:rect l="l" t="t" r="r" b="b"/>
                <a:pathLst>
                  <a:path w="66116" h="15884" fill="none" extrusionOk="0">
                    <a:moveTo>
                      <a:pt x="66116" y="15884"/>
                    </a:moveTo>
                    <a:lnTo>
                      <a:pt x="1" y="15884"/>
                    </a:lnTo>
                    <a:lnTo>
                      <a:pt x="5680" y="7847"/>
                    </a:lnTo>
                    <a:lnTo>
                      <a:pt x="1" y="1"/>
                    </a:lnTo>
                    <a:lnTo>
                      <a:pt x="66116"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US" sz="1400" dirty="0">
                    <a:solidFill>
                      <a:schemeClr val="accent1"/>
                    </a:solidFill>
                    <a:latin typeface="Fira Sans Extra Condensed Medium"/>
                  </a:rPr>
                  <a:t>1. Create</a:t>
                </a:r>
                <a:endParaRPr sz="1400" dirty="0">
                  <a:solidFill>
                    <a:schemeClr val="accent1"/>
                  </a:solidFill>
                  <a:latin typeface="Fira Sans Extra Condensed Medium"/>
                </a:endParaRPr>
              </a:p>
            </p:txBody>
          </p:sp>
          <p:sp>
            <p:nvSpPr>
              <p:cNvPr id="29" name="Google Shape;809;p29">
                <a:extLst>
                  <a:ext uri="{FF2B5EF4-FFF2-40B4-BE49-F238E27FC236}">
                    <a16:creationId xmlns:a16="http://schemas.microsoft.com/office/drawing/2014/main" id="{8C788BC2-5C26-4AA6-BC6E-EF3D90B07ABD}"/>
                  </a:ext>
                </a:extLst>
              </p:cNvPr>
              <p:cNvSpPr/>
              <p:nvPr/>
            </p:nvSpPr>
            <p:spPr>
              <a:xfrm>
                <a:off x="4059738" y="1366850"/>
                <a:ext cx="560200" cy="538775"/>
              </a:xfrm>
              <a:custGeom>
                <a:avLst/>
                <a:gdLst/>
                <a:ahLst/>
                <a:cxnLst/>
                <a:rect l="l" t="t" r="r" b="b"/>
                <a:pathLst>
                  <a:path w="22408" h="21551" extrusionOk="0">
                    <a:moveTo>
                      <a:pt x="0" y="0"/>
                    </a:moveTo>
                    <a:lnTo>
                      <a:pt x="0" y="21550"/>
                    </a:lnTo>
                    <a:lnTo>
                      <a:pt x="22408" y="21550"/>
                    </a:lnTo>
                    <a:lnTo>
                      <a:pt x="22408" y="0"/>
                    </a:lnTo>
                    <a:close/>
                  </a:path>
                </a:pathLst>
              </a:custGeom>
              <a:solidFill>
                <a:schemeClr val="accent1"/>
              </a:solidFill>
              <a:ln>
                <a:noFill/>
              </a:ln>
            </p:spPr>
            <p:txBody>
              <a:bodyPr spcFirstLastPara="1" wrap="square" lIns="99044" tIns="99044" rIns="99044" bIns="99044" anchor="ctr" anchorCtr="0">
                <a:noAutofit/>
              </a:bodyPr>
              <a:lstStyle/>
              <a:p>
                <a:pPr algn="ctr">
                  <a:buClr>
                    <a:schemeClr val="dk1"/>
                  </a:buClr>
                  <a:buSzPts val="1100"/>
                </a:pPr>
                <a:endParaRPr sz="1100">
                  <a:solidFill>
                    <a:srgbClr val="FFFFFF"/>
                  </a:solidFill>
                  <a:latin typeface="Roboto"/>
                  <a:ea typeface="Roboto"/>
                  <a:cs typeface="Roboto"/>
                  <a:sym typeface="Roboto"/>
                </a:endParaRPr>
              </a:p>
            </p:txBody>
          </p:sp>
          <p:sp>
            <p:nvSpPr>
              <p:cNvPr id="30" name="Google Shape;810;p29">
                <a:extLst>
                  <a:ext uri="{FF2B5EF4-FFF2-40B4-BE49-F238E27FC236}">
                    <a16:creationId xmlns:a16="http://schemas.microsoft.com/office/drawing/2014/main" id="{5BA4D79D-A43E-46C3-BF17-90F0C8BE4842}"/>
                  </a:ext>
                </a:extLst>
              </p:cNvPr>
              <p:cNvSpPr txBox="1"/>
              <p:nvPr/>
            </p:nvSpPr>
            <p:spPr>
              <a:xfrm>
                <a:off x="140677" y="1390775"/>
                <a:ext cx="2581509" cy="680775"/>
              </a:xfrm>
              <a:prstGeom prst="rect">
                <a:avLst/>
              </a:prstGeom>
              <a:noFill/>
              <a:ln>
                <a:noFill/>
              </a:ln>
            </p:spPr>
            <p:txBody>
              <a:bodyPr spcFirstLastPara="1" wrap="square" lIns="99044" tIns="99044" rIns="99044" bIns="99044" anchor="ctr" anchorCtr="0">
                <a:noAutofit/>
              </a:bodyPr>
              <a:lstStyle>
                <a:defPPr>
                  <a:defRPr lang="en-US"/>
                </a:defPPr>
                <a:lvl1pPr>
                  <a:defRPr sz="1400">
                    <a:solidFill>
                      <a:srgbClr val="293745"/>
                    </a:solidFill>
                    <a:latin typeface="inherit"/>
                  </a:defRPr>
                </a:lvl1pPr>
              </a:lstStyle>
              <a:p>
                <a:r>
                  <a:rPr lang="en-US" dirty="0"/>
                  <a:t>Standard Operating Procedures (SOP) for processes and design specifications for facilities and equipment</a:t>
                </a:r>
                <a:endParaRPr dirty="0">
                  <a:sym typeface="Roboto"/>
                </a:endParaRPr>
              </a:p>
            </p:txBody>
          </p:sp>
        </p:grpSp>
        <p:grpSp>
          <p:nvGrpSpPr>
            <p:cNvPr id="14" name="Google Shape;811;p29">
              <a:extLst>
                <a:ext uri="{FF2B5EF4-FFF2-40B4-BE49-F238E27FC236}">
                  <a16:creationId xmlns:a16="http://schemas.microsoft.com/office/drawing/2014/main" id="{20000D4A-B333-48A8-A5E6-B87982490BC8}"/>
                </a:ext>
              </a:extLst>
            </p:cNvPr>
            <p:cNvGrpSpPr/>
            <p:nvPr/>
          </p:nvGrpSpPr>
          <p:grpSpPr>
            <a:xfrm>
              <a:off x="4531497" y="2251060"/>
              <a:ext cx="328949" cy="328898"/>
              <a:chOff x="2685825" y="840375"/>
              <a:chExt cx="481900" cy="481825"/>
            </a:xfrm>
          </p:grpSpPr>
          <p:sp>
            <p:nvSpPr>
              <p:cNvPr id="26" name="Google Shape;812;p29">
                <a:extLst>
                  <a:ext uri="{FF2B5EF4-FFF2-40B4-BE49-F238E27FC236}">
                    <a16:creationId xmlns:a16="http://schemas.microsoft.com/office/drawing/2014/main" id="{6B5A346B-376D-4E66-A234-48BEDECF5D99}"/>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7" name="Google Shape;813;p29">
                <a:extLst>
                  <a:ext uri="{FF2B5EF4-FFF2-40B4-BE49-F238E27FC236}">
                    <a16:creationId xmlns:a16="http://schemas.microsoft.com/office/drawing/2014/main" id="{D1D2B623-B9ED-42F1-9498-1A66AC6A7696}"/>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nvGrpSpPr>
            <p:cNvPr id="15" name="Google Shape;814;p29">
              <a:extLst>
                <a:ext uri="{FF2B5EF4-FFF2-40B4-BE49-F238E27FC236}">
                  <a16:creationId xmlns:a16="http://schemas.microsoft.com/office/drawing/2014/main" id="{195C4854-8655-412C-B780-C85343037B0B}"/>
                </a:ext>
              </a:extLst>
            </p:cNvPr>
            <p:cNvGrpSpPr/>
            <p:nvPr/>
          </p:nvGrpSpPr>
          <p:grpSpPr>
            <a:xfrm>
              <a:off x="4526105" y="3624474"/>
              <a:ext cx="339734" cy="329512"/>
              <a:chOff x="3270675" y="841800"/>
              <a:chExt cx="497700" cy="482725"/>
            </a:xfrm>
          </p:grpSpPr>
          <p:sp>
            <p:nvSpPr>
              <p:cNvPr id="23" name="Google Shape;815;p29">
                <a:extLst>
                  <a:ext uri="{FF2B5EF4-FFF2-40B4-BE49-F238E27FC236}">
                    <a16:creationId xmlns:a16="http://schemas.microsoft.com/office/drawing/2014/main" id="{C5F5A9BE-9675-44F7-A8D4-D181D920EA3E}"/>
                  </a:ext>
                </a:extLst>
              </p:cNvPr>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4" name="Google Shape;816;p29">
                <a:extLst>
                  <a:ext uri="{FF2B5EF4-FFF2-40B4-BE49-F238E27FC236}">
                    <a16:creationId xmlns:a16="http://schemas.microsoft.com/office/drawing/2014/main" id="{6AFA291F-3144-45E3-962A-1DF3DDC74CE5}"/>
                  </a:ext>
                </a:extLst>
              </p:cNvPr>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5" name="Google Shape;817;p29">
                <a:extLst>
                  <a:ext uri="{FF2B5EF4-FFF2-40B4-BE49-F238E27FC236}">
                    <a16:creationId xmlns:a16="http://schemas.microsoft.com/office/drawing/2014/main" id="{ED8CCEB3-0B60-41A7-B3D7-F9AF50A3E8C0}"/>
                  </a:ext>
                </a:extLst>
              </p:cNvPr>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sp>
          <p:nvSpPr>
            <p:cNvPr id="16" name="Google Shape;818;p29">
              <a:extLst>
                <a:ext uri="{FF2B5EF4-FFF2-40B4-BE49-F238E27FC236}">
                  <a16:creationId xmlns:a16="http://schemas.microsoft.com/office/drawing/2014/main" id="{4F266CDB-1927-4D18-B4E2-746900617017}"/>
                </a:ext>
              </a:extLst>
            </p:cNvPr>
            <p:cNvSpPr/>
            <p:nvPr/>
          </p:nvSpPr>
          <p:spPr>
            <a:xfrm>
              <a:off x="5045165" y="2948195"/>
              <a:ext cx="328898" cy="308351"/>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nvGrpSpPr>
            <p:cNvPr id="17" name="Google Shape;819;p29">
              <a:extLst>
                <a:ext uri="{FF2B5EF4-FFF2-40B4-BE49-F238E27FC236}">
                  <a16:creationId xmlns:a16="http://schemas.microsoft.com/office/drawing/2014/main" id="{36D87891-70E2-48E3-8F21-927E6D3C6735}"/>
                </a:ext>
              </a:extLst>
            </p:cNvPr>
            <p:cNvGrpSpPr/>
            <p:nvPr/>
          </p:nvGrpSpPr>
          <p:grpSpPr>
            <a:xfrm>
              <a:off x="5045165" y="4311451"/>
              <a:ext cx="328898" cy="328898"/>
              <a:chOff x="3271200" y="1435075"/>
              <a:chExt cx="481825" cy="481825"/>
            </a:xfrm>
          </p:grpSpPr>
          <p:sp>
            <p:nvSpPr>
              <p:cNvPr id="21" name="Google Shape;820;p29">
                <a:extLst>
                  <a:ext uri="{FF2B5EF4-FFF2-40B4-BE49-F238E27FC236}">
                    <a16:creationId xmlns:a16="http://schemas.microsoft.com/office/drawing/2014/main" id="{9A4C8D90-6CC0-4E58-AF24-013B21B283DB}"/>
                  </a:ext>
                </a:extLst>
              </p:cNvPr>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2" name="Google Shape;821;p29">
                <a:extLst>
                  <a:ext uri="{FF2B5EF4-FFF2-40B4-BE49-F238E27FC236}">
                    <a16:creationId xmlns:a16="http://schemas.microsoft.com/office/drawing/2014/main" id="{1FCA5520-9D4F-49BB-996C-51E3FDF27F12}"/>
                  </a:ext>
                </a:extLst>
              </p:cNvPr>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nvGrpSpPr>
            <p:cNvPr id="18" name="Google Shape;822;p29">
              <a:extLst>
                <a:ext uri="{FF2B5EF4-FFF2-40B4-BE49-F238E27FC236}">
                  <a16:creationId xmlns:a16="http://schemas.microsoft.com/office/drawing/2014/main" id="{C3EF16C5-CCFE-42FB-B7B5-520D0F2EEF30}"/>
                </a:ext>
              </a:extLst>
            </p:cNvPr>
            <p:cNvGrpSpPr/>
            <p:nvPr/>
          </p:nvGrpSpPr>
          <p:grpSpPr>
            <a:xfrm>
              <a:off x="4534611" y="4998146"/>
              <a:ext cx="322721" cy="322721"/>
              <a:chOff x="6239925" y="2032450"/>
              <a:chExt cx="472775" cy="472775"/>
            </a:xfrm>
          </p:grpSpPr>
          <p:sp>
            <p:nvSpPr>
              <p:cNvPr id="19" name="Google Shape;823;p29">
                <a:extLst>
                  <a:ext uri="{FF2B5EF4-FFF2-40B4-BE49-F238E27FC236}">
                    <a16:creationId xmlns:a16="http://schemas.microsoft.com/office/drawing/2014/main" id="{496984A3-7E35-48E1-9E74-2DFB245A8D45}"/>
                  </a:ext>
                </a:extLst>
              </p:cNvPr>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0" name="Google Shape;824;p29">
                <a:extLst>
                  <a:ext uri="{FF2B5EF4-FFF2-40B4-BE49-F238E27FC236}">
                    <a16:creationId xmlns:a16="http://schemas.microsoft.com/office/drawing/2014/main" id="{55FAB552-1681-425E-BB89-87F1F944F1C4}"/>
                  </a:ext>
                </a:extLst>
              </p:cNvPr>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spTree>
    <p:extLst>
      <p:ext uri="{BB962C8B-B14F-4D97-AF65-F5344CB8AC3E}">
        <p14:creationId xmlns:p14="http://schemas.microsoft.com/office/powerpoint/2010/main" val="188614523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30ABE-40FF-4E43-8785-AB47493497FB}"/>
              </a:ext>
            </a:extLst>
          </p:cNvPr>
          <p:cNvSpPr>
            <a:spLocks noGrp="1"/>
          </p:cNvSpPr>
          <p:nvPr>
            <p:ph type="title"/>
          </p:nvPr>
        </p:nvSpPr>
        <p:spPr/>
        <p:txBody>
          <a:bodyPr/>
          <a:lstStyle/>
          <a:p>
            <a:r>
              <a:rPr lang="en-IN" dirty="0"/>
              <a:t>10 Principles of GMP 2/2</a:t>
            </a:r>
          </a:p>
        </p:txBody>
      </p:sp>
      <p:sp>
        <p:nvSpPr>
          <p:cNvPr id="4" name="Date Placeholder 3">
            <a:extLst>
              <a:ext uri="{FF2B5EF4-FFF2-40B4-BE49-F238E27FC236}">
                <a16:creationId xmlns:a16="http://schemas.microsoft.com/office/drawing/2014/main" id="{D309E683-9BEB-4E98-8CFA-67CE1EE6CCE5}"/>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C2C65940-0BEA-49EA-8F82-954132BF7645}"/>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6B673CE-35D0-416F-B234-6CA511F20F4F}"/>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3</a:t>
            </a:fld>
            <a:endParaRPr lang="en-US" dirty="0">
              <a:solidFill>
                <a:srgbClr val="F79646">
                  <a:lumMod val="75000"/>
                </a:srgbClr>
              </a:solidFill>
            </a:endParaRPr>
          </a:p>
        </p:txBody>
      </p:sp>
      <p:grpSp>
        <p:nvGrpSpPr>
          <p:cNvPr id="7" name="Group 6">
            <a:extLst>
              <a:ext uri="{FF2B5EF4-FFF2-40B4-BE49-F238E27FC236}">
                <a16:creationId xmlns:a16="http://schemas.microsoft.com/office/drawing/2014/main" id="{640E9936-BE96-4426-B29B-F50E7FA0C6F2}"/>
              </a:ext>
            </a:extLst>
          </p:cNvPr>
          <p:cNvGrpSpPr/>
          <p:nvPr/>
        </p:nvGrpSpPr>
        <p:grpSpPr>
          <a:xfrm>
            <a:off x="457200" y="2123692"/>
            <a:ext cx="8907373" cy="3331061"/>
            <a:chOff x="769465" y="2123692"/>
            <a:chExt cx="8595108" cy="3331061"/>
          </a:xfrm>
        </p:grpSpPr>
        <p:grpSp>
          <p:nvGrpSpPr>
            <p:cNvPr id="8" name="Google Shape;791;p29">
              <a:extLst>
                <a:ext uri="{FF2B5EF4-FFF2-40B4-BE49-F238E27FC236}">
                  <a16:creationId xmlns:a16="http://schemas.microsoft.com/office/drawing/2014/main" id="{D906C470-7962-481D-922E-FF0FC73CF757}"/>
                </a:ext>
              </a:extLst>
            </p:cNvPr>
            <p:cNvGrpSpPr/>
            <p:nvPr/>
          </p:nvGrpSpPr>
          <p:grpSpPr>
            <a:xfrm>
              <a:off x="4901067" y="4184050"/>
              <a:ext cx="4463506" cy="583700"/>
              <a:chOff x="4524063" y="3268719"/>
              <a:chExt cx="3712860" cy="538800"/>
            </a:xfrm>
          </p:grpSpPr>
          <p:sp>
            <p:nvSpPr>
              <p:cNvPr id="39" name="Google Shape;792;p29">
                <a:extLst>
                  <a:ext uri="{FF2B5EF4-FFF2-40B4-BE49-F238E27FC236}">
                    <a16:creationId xmlns:a16="http://schemas.microsoft.com/office/drawing/2014/main" id="{C430FAEF-A562-4A34-BBA6-10317179590F}"/>
                  </a:ext>
                </a:extLst>
              </p:cNvPr>
              <p:cNvSpPr/>
              <p:nvPr/>
            </p:nvSpPr>
            <p:spPr>
              <a:xfrm>
                <a:off x="4998850" y="3339574"/>
                <a:ext cx="1422982" cy="397100"/>
              </a:xfrm>
              <a:custGeom>
                <a:avLst/>
                <a:gdLst/>
                <a:ahLst/>
                <a:cxnLst/>
                <a:rect l="l" t="t" r="r" b="b"/>
                <a:pathLst>
                  <a:path w="66116" h="15884" fill="none" extrusionOk="0">
                    <a:moveTo>
                      <a:pt x="0" y="15884"/>
                    </a:moveTo>
                    <a:lnTo>
                      <a:pt x="66116" y="15884"/>
                    </a:lnTo>
                    <a:lnTo>
                      <a:pt x="60436" y="7847"/>
                    </a:lnTo>
                    <a:lnTo>
                      <a:pt x="66116" y="1"/>
                    </a:lnTo>
                    <a:lnTo>
                      <a:pt x="0"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4"/>
                    </a:solidFill>
                    <a:latin typeface="Fira Sans Extra Condensed Medium"/>
                    <a:ea typeface="Fira Sans Extra Condensed Medium"/>
                    <a:cs typeface="Fira Sans Extra Condensed Medium"/>
                    <a:sym typeface="Fira Sans Extra Condensed Medium"/>
                  </a:rPr>
                  <a:t>10. Perform </a:t>
                </a:r>
                <a:endParaRPr sz="1950" dirty="0">
                  <a:solidFill>
                    <a:schemeClr val="accent4"/>
                  </a:solidFill>
                </a:endParaRPr>
              </a:p>
            </p:txBody>
          </p:sp>
          <p:sp>
            <p:nvSpPr>
              <p:cNvPr id="40" name="Google Shape;793;p29">
                <a:extLst>
                  <a:ext uri="{FF2B5EF4-FFF2-40B4-BE49-F238E27FC236}">
                    <a16:creationId xmlns:a16="http://schemas.microsoft.com/office/drawing/2014/main" id="{4DAB34B4-0C14-4991-88C6-9A9B7892AEEF}"/>
                  </a:ext>
                </a:extLst>
              </p:cNvPr>
              <p:cNvSpPr/>
              <p:nvPr/>
            </p:nvSpPr>
            <p:spPr>
              <a:xfrm>
                <a:off x="4524063" y="3268719"/>
                <a:ext cx="560225" cy="538800"/>
              </a:xfrm>
              <a:custGeom>
                <a:avLst/>
                <a:gdLst/>
                <a:ahLst/>
                <a:cxnLst/>
                <a:rect l="l" t="t" r="r" b="b"/>
                <a:pathLst>
                  <a:path w="22409" h="21552" extrusionOk="0">
                    <a:moveTo>
                      <a:pt x="1" y="1"/>
                    </a:moveTo>
                    <a:lnTo>
                      <a:pt x="1" y="21551"/>
                    </a:lnTo>
                    <a:lnTo>
                      <a:pt x="22408" y="21551"/>
                    </a:lnTo>
                    <a:lnTo>
                      <a:pt x="22408" y="1"/>
                    </a:lnTo>
                    <a:close/>
                  </a:path>
                </a:pathLst>
              </a:custGeom>
              <a:solidFill>
                <a:schemeClr val="accent4"/>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41" name="Google Shape;794;p29">
                <a:extLst>
                  <a:ext uri="{FF2B5EF4-FFF2-40B4-BE49-F238E27FC236}">
                    <a16:creationId xmlns:a16="http://schemas.microsoft.com/office/drawing/2014/main" id="{9E3D4613-5251-43D6-B953-80EA1CF2426C}"/>
                  </a:ext>
                </a:extLst>
              </p:cNvPr>
              <p:cNvSpPr txBox="1"/>
              <p:nvPr/>
            </p:nvSpPr>
            <p:spPr>
              <a:xfrm>
                <a:off x="6637565" y="3272619"/>
                <a:ext cx="1599358" cy="534900"/>
              </a:xfrm>
              <a:prstGeom prst="rect">
                <a:avLst/>
              </a:prstGeom>
              <a:noFill/>
              <a:ln>
                <a:noFill/>
              </a:ln>
            </p:spPr>
            <p:txBody>
              <a:bodyPr spcFirstLastPara="1" wrap="square" lIns="99044" tIns="99044" rIns="99044" bIns="99044" anchor="ctr" anchorCtr="0">
                <a:noAutofit/>
              </a:bodyPr>
              <a:lstStyle/>
              <a:p>
                <a:pPr marL="0" lvl="1" algn="r"/>
                <a:r>
                  <a:rPr lang="en-US" sz="1400" dirty="0">
                    <a:solidFill>
                      <a:srgbClr val="293745"/>
                    </a:solidFill>
                    <a:latin typeface="inherit"/>
                  </a:rPr>
                  <a:t>Periodic audits with certified auditors</a:t>
                </a:r>
              </a:p>
            </p:txBody>
          </p:sp>
        </p:grpSp>
        <p:grpSp>
          <p:nvGrpSpPr>
            <p:cNvPr id="9" name="Google Shape;795;p29">
              <a:extLst>
                <a:ext uri="{FF2B5EF4-FFF2-40B4-BE49-F238E27FC236}">
                  <a16:creationId xmlns:a16="http://schemas.microsoft.com/office/drawing/2014/main" id="{E4746FE3-069D-4839-BC33-179100714325}"/>
                </a:ext>
              </a:extLst>
            </p:cNvPr>
            <p:cNvGrpSpPr/>
            <p:nvPr/>
          </p:nvGrpSpPr>
          <p:grpSpPr>
            <a:xfrm>
              <a:off x="4901068" y="2810694"/>
              <a:ext cx="4450266" cy="612614"/>
              <a:chOff x="4524063" y="2001006"/>
              <a:chExt cx="3701845" cy="565490"/>
            </a:xfrm>
          </p:grpSpPr>
          <p:sp>
            <p:nvSpPr>
              <p:cNvPr id="36" name="Google Shape;796;p29">
                <a:extLst>
                  <a:ext uri="{FF2B5EF4-FFF2-40B4-BE49-F238E27FC236}">
                    <a16:creationId xmlns:a16="http://schemas.microsoft.com/office/drawing/2014/main" id="{C3776185-1C38-4763-9C18-1A172B1BE991}"/>
                  </a:ext>
                </a:extLst>
              </p:cNvPr>
              <p:cNvSpPr/>
              <p:nvPr/>
            </p:nvSpPr>
            <p:spPr>
              <a:xfrm>
                <a:off x="4998850" y="2071550"/>
                <a:ext cx="1422982" cy="397375"/>
              </a:xfrm>
              <a:custGeom>
                <a:avLst/>
                <a:gdLst/>
                <a:ahLst/>
                <a:cxnLst/>
                <a:rect l="l" t="t" r="r" b="b"/>
                <a:pathLst>
                  <a:path w="66116" h="15895" fill="none" extrusionOk="0">
                    <a:moveTo>
                      <a:pt x="0" y="15895"/>
                    </a:moveTo>
                    <a:lnTo>
                      <a:pt x="66116" y="15895"/>
                    </a:lnTo>
                    <a:lnTo>
                      <a:pt x="60436" y="7858"/>
                    </a:lnTo>
                    <a:lnTo>
                      <a:pt x="66116" y="0"/>
                    </a:lnTo>
                    <a:lnTo>
                      <a:pt x="0" y="0"/>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2"/>
                    </a:solidFill>
                    <a:latin typeface="Fira Sans Extra Condensed Medium"/>
                    <a:ea typeface="Fira Sans Extra Condensed Medium"/>
                    <a:cs typeface="Fira Sans Extra Condensed Medium"/>
                    <a:sym typeface="Fira Sans Extra Condensed Medium"/>
                  </a:rPr>
                  <a:t>9. Ensure</a:t>
                </a:r>
                <a:endParaRPr sz="1950" dirty="0">
                  <a:solidFill>
                    <a:schemeClr val="accent2"/>
                  </a:solidFill>
                </a:endParaRPr>
              </a:p>
            </p:txBody>
          </p:sp>
          <p:sp>
            <p:nvSpPr>
              <p:cNvPr id="37" name="Google Shape;797;p29">
                <a:extLst>
                  <a:ext uri="{FF2B5EF4-FFF2-40B4-BE49-F238E27FC236}">
                    <a16:creationId xmlns:a16="http://schemas.microsoft.com/office/drawing/2014/main" id="{4FA8459F-B91D-4676-B843-62C7DAAEB533}"/>
                  </a:ext>
                </a:extLst>
              </p:cNvPr>
              <p:cNvSpPr/>
              <p:nvPr/>
            </p:nvSpPr>
            <p:spPr>
              <a:xfrm>
                <a:off x="4524063" y="2001006"/>
                <a:ext cx="560225" cy="538475"/>
              </a:xfrm>
              <a:custGeom>
                <a:avLst/>
                <a:gdLst/>
                <a:ahLst/>
                <a:cxnLst/>
                <a:rect l="l" t="t" r="r" b="b"/>
                <a:pathLst>
                  <a:path w="22409" h="21539" extrusionOk="0">
                    <a:moveTo>
                      <a:pt x="1" y="0"/>
                    </a:moveTo>
                    <a:lnTo>
                      <a:pt x="1" y="21539"/>
                    </a:lnTo>
                    <a:lnTo>
                      <a:pt x="22408" y="21539"/>
                    </a:lnTo>
                    <a:lnTo>
                      <a:pt x="22408" y="0"/>
                    </a:lnTo>
                    <a:close/>
                  </a:path>
                </a:pathLst>
              </a:custGeom>
              <a:solidFill>
                <a:schemeClr val="accent2"/>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8" name="Google Shape;798;p29">
                <a:extLst>
                  <a:ext uri="{FF2B5EF4-FFF2-40B4-BE49-F238E27FC236}">
                    <a16:creationId xmlns:a16="http://schemas.microsoft.com/office/drawing/2014/main" id="{E849F455-E61B-479A-A678-F7D37B0F9E2C}"/>
                  </a:ext>
                </a:extLst>
              </p:cNvPr>
              <p:cNvSpPr txBox="1"/>
              <p:nvPr/>
            </p:nvSpPr>
            <p:spPr>
              <a:xfrm>
                <a:off x="6418708" y="2031596"/>
                <a:ext cx="1807200" cy="534900"/>
              </a:xfrm>
              <a:prstGeom prst="rect">
                <a:avLst/>
              </a:prstGeom>
              <a:noFill/>
              <a:ln>
                <a:noFill/>
              </a:ln>
            </p:spPr>
            <p:txBody>
              <a:bodyPr spcFirstLastPara="1" wrap="square" lIns="99044" tIns="99044" rIns="99044" bIns="99044" anchor="ctr" anchorCtr="0">
                <a:noAutofit/>
              </a:bodyPr>
              <a:lstStyle/>
              <a:p>
                <a:pPr algn="r"/>
                <a:r>
                  <a:rPr lang="en-US" sz="1400" dirty="0">
                    <a:solidFill>
                      <a:srgbClr val="293745"/>
                    </a:solidFill>
                    <a:latin typeface="inherit"/>
                  </a:rPr>
                  <a:t>Quality in operations, manufacturing, logistics, and distribution</a:t>
                </a:r>
                <a:endParaRPr sz="1400" dirty="0">
                  <a:solidFill>
                    <a:srgbClr val="293745"/>
                  </a:solidFill>
                  <a:latin typeface="inherit"/>
                  <a:sym typeface="Roboto"/>
                </a:endParaRPr>
              </a:p>
            </p:txBody>
          </p:sp>
        </p:grpSp>
        <p:grpSp>
          <p:nvGrpSpPr>
            <p:cNvPr id="10" name="Google Shape;799;p29">
              <a:extLst>
                <a:ext uri="{FF2B5EF4-FFF2-40B4-BE49-F238E27FC236}">
                  <a16:creationId xmlns:a16="http://schemas.microsoft.com/office/drawing/2014/main" id="{E6AE0CFF-323E-44D1-9760-71E8859B95B7}"/>
                </a:ext>
              </a:extLst>
            </p:cNvPr>
            <p:cNvGrpSpPr/>
            <p:nvPr/>
          </p:nvGrpSpPr>
          <p:grpSpPr>
            <a:xfrm>
              <a:off x="769466" y="4871080"/>
              <a:ext cx="4235466" cy="583673"/>
              <a:chOff x="710276" y="3902900"/>
              <a:chExt cx="3909661" cy="538775"/>
            </a:xfrm>
          </p:grpSpPr>
          <p:sp>
            <p:nvSpPr>
              <p:cNvPr id="33" name="Google Shape;800;p29">
                <a:extLst>
                  <a:ext uri="{FF2B5EF4-FFF2-40B4-BE49-F238E27FC236}">
                    <a16:creationId xmlns:a16="http://schemas.microsoft.com/office/drawing/2014/main" id="{2305A3D1-9A9B-4AEE-BDE6-9CB423D0B6A1}"/>
                  </a:ext>
                </a:extLst>
              </p:cNvPr>
              <p:cNvSpPr/>
              <p:nvPr/>
            </p:nvSpPr>
            <p:spPr>
              <a:xfrm>
                <a:off x="2722199" y="3973725"/>
                <a:ext cx="1422982" cy="397100"/>
              </a:xfrm>
              <a:custGeom>
                <a:avLst/>
                <a:gdLst/>
                <a:ahLst/>
                <a:cxnLst/>
                <a:rect l="l" t="t" r="r" b="b"/>
                <a:pathLst>
                  <a:path w="66116" h="15884" fill="none" extrusionOk="0">
                    <a:moveTo>
                      <a:pt x="66116" y="15884"/>
                    </a:moveTo>
                    <a:lnTo>
                      <a:pt x="1" y="15884"/>
                    </a:lnTo>
                    <a:lnTo>
                      <a:pt x="5680" y="7847"/>
                    </a:lnTo>
                    <a:lnTo>
                      <a:pt x="1" y="1"/>
                    </a:lnTo>
                    <a:lnTo>
                      <a:pt x="66116"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IN" sz="1842" dirty="0">
                    <a:solidFill>
                      <a:schemeClr val="accent6"/>
                    </a:solidFill>
                    <a:latin typeface="Fira Sans Extra Condensed Medium"/>
                    <a:ea typeface="Fira Sans Extra Condensed Medium"/>
                    <a:cs typeface="Fira Sans Extra Condensed Medium"/>
                    <a:sym typeface="Fira Sans Extra Condensed Medium"/>
                  </a:rPr>
                  <a:t>8.Control </a:t>
                </a:r>
                <a:endParaRPr sz="1950" dirty="0">
                  <a:solidFill>
                    <a:schemeClr val="accent6"/>
                  </a:solidFill>
                </a:endParaRPr>
              </a:p>
            </p:txBody>
          </p:sp>
          <p:sp>
            <p:nvSpPr>
              <p:cNvPr id="34" name="Google Shape;801;p29">
                <a:extLst>
                  <a:ext uri="{FF2B5EF4-FFF2-40B4-BE49-F238E27FC236}">
                    <a16:creationId xmlns:a16="http://schemas.microsoft.com/office/drawing/2014/main" id="{54728DDF-A878-45F2-BE9C-01F72B42F0A9}"/>
                  </a:ext>
                </a:extLst>
              </p:cNvPr>
              <p:cNvSpPr/>
              <p:nvPr/>
            </p:nvSpPr>
            <p:spPr>
              <a:xfrm>
                <a:off x="4059738" y="3902900"/>
                <a:ext cx="560200" cy="538775"/>
              </a:xfrm>
              <a:custGeom>
                <a:avLst/>
                <a:gdLst/>
                <a:ahLst/>
                <a:cxnLst/>
                <a:rect l="l" t="t" r="r" b="b"/>
                <a:pathLst>
                  <a:path w="22408" h="21551" extrusionOk="0">
                    <a:moveTo>
                      <a:pt x="0" y="0"/>
                    </a:moveTo>
                    <a:lnTo>
                      <a:pt x="0" y="21551"/>
                    </a:lnTo>
                    <a:lnTo>
                      <a:pt x="22408" y="21551"/>
                    </a:lnTo>
                    <a:lnTo>
                      <a:pt x="22408" y="0"/>
                    </a:lnTo>
                    <a:close/>
                  </a:path>
                </a:pathLst>
              </a:custGeom>
              <a:solidFill>
                <a:schemeClr val="accent6"/>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5" name="Google Shape;802;p29">
                <a:extLst>
                  <a:ext uri="{FF2B5EF4-FFF2-40B4-BE49-F238E27FC236}">
                    <a16:creationId xmlns:a16="http://schemas.microsoft.com/office/drawing/2014/main" id="{819984D2-6B38-4E82-9C87-1796E97C0454}"/>
                  </a:ext>
                </a:extLst>
              </p:cNvPr>
              <p:cNvSpPr txBox="1"/>
              <p:nvPr/>
            </p:nvSpPr>
            <p:spPr>
              <a:xfrm>
                <a:off x="710276" y="3904838"/>
                <a:ext cx="1807200" cy="534900"/>
              </a:xfrm>
              <a:prstGeom prst="rect">
                <a:avLst/>
              </a:prstGeom>
              <a:noFill/>
              <a:ln>
                <a:noFill/>
              </a:ln>
            </p:spPr>
            <p:txBody>
              <a:bodyPr spcFirstLastPara="1" wrap="square" lIns="99044" tIns="99044" rIns="99044" bIns="99044" anchor="ctr" anchorCtr="0">
                <a:noAutofit/>
              </a:bodyPr>
              <a:lstStyle/>
              <a:p>
                <a:r>
                  <a:rPr lang="en-US" sz="1400" dirty="0">
                    <a:solidFill>
                      <a:srgbClr val="293745"/>
                    </a:solidFill>
                    <a:latin typeface="inherit"/>
                  </a:rPr>
                  <a:t>components and processes that are related to the product</a:t>
                </a:r>
                <a:endParaRPr sz="1300" dirty="0">
                  <a:latin typeface="Roboto"/>
                  <a:ea typeface="Roboto"/>
                  <a:cs typeface="Roboto"/>
                  <a:sym typeface="Roboto"/>
                </a:endParaRPr>
              </a:p>
            </p:txBody>
          </p:sp>
        </p:grpSp>
        <p:grpSp>
          <p:nvGrpSpPr>
            <p:cNvPr id="11" name="Google Shape;803;p29">
              <a:extLst>
                <a:ext uri="{FF2B5EF4-FFF2-40B4-BE49-F238E27FC236}">
                  <a16:creationId xmlns:a16="http://schemas.microsoft.com/office/drawing/2014/main" id="{934694D1-ECF9-4929-AA11-90BF1AC1A469}"/>
                </a:ext>
              </a:extLst>
            </p:cNvPr>
            <p:cNvGrpSpPr/>
            <p:nvPr/>
          </p:nvGrpSpPr>
          <p:grpSpPr>
            <a:xfrm>
              <a:off x="769465" y="3497373"/>
              <a:ext cx="4235468" cy="583348"/>
              <a:chOff x="710275" y="2634863"/>
              <a:chExt cx="3909663" cy="538475"/>
            </a:xfrm>
          </p:grpSpPr>
          <p:sp>
            <p:nvSpPr>
              <p:cNvPr id="30" name="Google Shape;804;p29">
                <a:extLst>
                  <a:ext uri="{FF2B5EF4-FFF2-40B4-BE49-F238E27FC236}">
                    <a16:creationId xmlns:a16="http://schemas.microsoft.com/office/drawing/2014/main" id="{87A84CEE-AAA0-4E59-9C1E-A0A2E75475A1}"/>
                  </a:ext>
                </a:extLst>
              </p:cNvPr>
              <p:cNvSpPr/>
              <p:nvPr/>
            </p:nvSpPr>
            <p:spPr>
              <a:xfrm>
                <a:off x="2722199" y="2705413"/>
                <a:ext cx="1422982" cy="397400"/>
              </a:xfrm>
              <a:custGeom>
                <a:avLst/>
                <a:gdLst/>
                <a:ahLst/>
                <a:cxnLst/>
                <a:rect l="l" t="t" r="r" b="b"/>
                <a:pathLst>
                  <a:path w="66116" h="15896" fill="none" extrusionOk="0">
                    <a:moveTo>
                      <a:pt x="66116" y="15895"/>
                    </a:moveTo>
                    <a:lnTo>
                      <a:pt x="1" y="15895"/>
                    </a:lnTo>
                    <a:lnTo>
                      <a:pt x="5680" y="7859"/>
                    </a:lnTo>
                    <a:lnTo>
                      <a:pt x="1" y="0"/>
                    </a:lnTo>
                    <a:lnTo>
                      <a:pt x="66116" y="0"/>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US" sz="1842" dirty="0">
                    <a:solidFill>
                      <a:schemeClr val="accent3"/>
                    </a:solidFill>
                    <a:latin typeface="Fira Sans Extra Condensed Medium"/>
                  </a:rPr>
                  <a:t>7.Protect</a:t>
                </a:r>
                <a:endParaRPr sz="1842" dirty="0">
                  <a:solidFill>
                    <a:schemeClr val="accent3"/>
                  </a:solidFill>
                  <a:latin typeface="Fira Sans Extra Condensed Medium"/>
                </a:endParaRPr>
              </a:p>
            </p:txBody>
          </p:sp>
          <p:sp>
            <p:nvSpPr>
              <p:cNvPr id="31" name="Google Shape;805;p29">
                <a:extLst>
                  <a:ext uri="{FF2B5EF4-FFF2-40B4-BE49-F238E27FC236}">
                    <a16:creationId xmlns:a16="http://schemas.microsoft.com/office/drawing/2014/main" id="{B44D0B38-6A61-4FEA-BED2-84FBF18BE7C0}"/>
                  </a:ext>
                </a:extLst>
              </p:cNvPr>
              <p:cNvSpPr/>
              <p:nvPr/>
            </p:nvSpPr>
            <p:spPr>
              <a:xfrm>
                <a:off x="4059738" y="2634863"/>
                <a:ext cx="560200" cy="538475"/>
              </a:xfrm>
              <a:custGeom>
                <a:avLst/>
                <a:gdLst/>
                <a:ahLst/>
                <a:cxnLst/>
                <a:rect l="l" t="t" r="r" b="b"/>
                <a:pathLst>
                  <a:path w="22408" h="21539" extrusionOk="0">
                    <a:moveTo>
                      <a:pt x="0" y="1"/>
                    </a:moveTo>
                    <a:lnTo>
                      <a:pt x="0" y="21539"/>
                    </a:lnTo>
                    <a:lnTo>
                      <a:pt x="22408" y="21539"/>
                    </a:lnTo>
                    <a:lnTo>
                      <a:pt x="22408" y="1"/>
                    </a:lnTo>
                    <a:close/>
                  </a:path>
                </a:pathLst>
              </a:custGeom>
              <a:solidFill>
                <a:schemeClr val="accent3"/>
              </a:solidFill>
              <a:ln>
                <a:noFill/>
              </a:ln>
            </p:spPr>
            <p:txBody>
              <a:bodyPr spcFirstLastPara="1" wrap="square" lIns="99044" tIns="99044" rIns="99044" bIns="99044" anchor="ctr" anchorCtr="0">
                <a:noAutofit/>
              </a:bodyPr>
              <a:lstStyle/>
              <a:p>
                <a:pPr algn="ctr">
                  <a:buClr>
                    <a:schemeClr val="dk1"/>
                  </a:buClr>
                  <a:buSzPts val="1100"/>
                </a:pPr>
                <a:endParaRPr sz="1625"/>
              </a:p>
            </p:txBody>
          </p:sp>
          <p:sp>
            <p:nvSpPr>
              <p:cNvPr id="32" name="Google Shape;806;p29">
                <a:extLst>
                  <a:ext uri="{FF2B5EF4-FFF2-40B4-BE49-F238E27FC236}">
                    <a16:creationId xmlns:a16="http://schemas.microsoft.com/office/drawing/2014/main" id="{832E0B2B-9AC1-4723-B7E3-2903B8CA5499}"/>
                  </a:ext>
                </a:extLst>
              </p:cNvPr>
              <p:cNvSpPr txBox="1"/>
              <p:nvPr/>
            </p:nvSpPr>
            <p:spPr>
              <a:xfrm>
                <a:off x="710275" y="2636675"/>
                <a:ext cx="1807200" cy="534900"/>
              </a:xfrm>
              <a:prstGeom prst="rect">
                <a:avLst/>
              </a:prstGeom>
              <a:noFill/>
              <a:ln>
                <a:noFill/>
              </a:ln>
            </p:spPr>
            <p:txBody>
              <a:bodyPr spcFirstLastPara="1" wrap="square" lIns="99044" tIns="99044" rIns="99044" bIns="99044" anchor="ctr" anchorCtr="0">
                <a:noAutofit/>
              </a:bodyPr>
              <a:lstStyle/>
              <a:p>
                <a:r>
                  <a:rPr lang="en-US" sz="1400" dirty="0">
                    <a:solidFill>
                      <a:srgbClr val="293745"/>
                    </a:solidFill>
                    <a:latin typeface="inherit"/>
                  </a:rPr>
                  <a:t>Products against contamination</a:t>
                </a:r>
                <a:endParaRPr sz="1300" dirty="0">
                  <a:latin typeface="Roboto"/>
                  <a:ea typeface="Roboto"/>
                  <a:cs typeface="Roboto"/>
                  <a:sym typeface="Roboto"/>
                </a:endParaRPr>
              </a:p>
            </p:txBody>
          </p:sp>
        </p:grpSp>
        <p:grpSp>
          <p:nvGrpSpPr>
            <p:cNvPr id="12" name="Google Shape;807;p29">
              <a:extLst>
                <a:ext uri="{FF2B5EF4-FFF2-40B4-BE49-F238E27FC236}">
                  <a16:creationId xmlns:a16="http://schemas.microsoft.com/office/drawing/2014/main" id="{ED490BDF-EAC0-41A5-981A-D591A42B7497}"/>
                </a:ext>
              </a:extLst>
            </p:cNvPr>
            <p:cNvGrpSpPr/>
            <p:nvPr/>
          </p:nvGrpSpPr>
          <p:grpSpPr>
            <a:xfrm>
              <a:off x="769465" y="2123692"/>
              <a:ext cx="4235468" cy="605394"/>
              <a:chOff x="710275" y="1366850"/>
              <a:chExt cx="3909663" cy="558825"/>
            </a:xfrm>
          </p:grpSpPr>
          <p:sp>
            <p:nvSpPr>
              <p:cNvPr id="27" name="Google Shape;808;p29">
                <a:extLst>
                  <a:ext uri="{FF2B5EF4-FFF2-40B4-BE49-F238E27FC236}">
                    <a16:creationId xmlns:a16="http://schemas.microsoft.com/office/drawing/2014/main" id="{F36A851A-1BF8-4C43-B5AF-D052519293CF}"/>
                  </a:ext>
                </a:extLst>
              </p:cNvPr>
              <p:cNvSpPr/>
              <p:nvPr/>
            </p:nvSpPr>
            <p:spPr>
              <a:xfrm>
                <a:off x="2722199" y="1437675"/>
                <a:ext cx="1422982" cy="397100"/>
              </a:xfrm>
              <a:custGeom>
                <a:avLst/>
                <a:gdLst/>
                <a:ahLst/>
                <a:cxnLst/>
                <a:rect l="l" t="t" r="r" b="b"/>
                <a:pathLst>
                  <a:path w="66116" h="15884" fill="none" extrusionOk="0">
                    <a:moveTo>
                      <a:pt x="66116" y="15884"/>
                    </a:moveTo>
                    <a:lnTo>
                      <a:pt x="1" y="15884"/>
                    </a:lnTo>
                    <a:lnTo>
                      <a:pt x="5680" y="7847"/>
                    </a:lnTo>
                    <a:lnTo>
                      <a:pt x="1" y="1"/>
                    </a:lnTo>
                    <a:lnTo>
                      <a:pt x="66116" y="1"/>
                    </a:lnTo>
                    <a:close/>
                  </a:path>
                </a:pathLst>
              </a:custGeom>
              <a:noFill/>
              <a:ln w="9525" cap="flat" cmpd="sng">
                <a:solidFill>
                  <a:srgbClr val="000000"/>
                </a:solidFill>
                <a:prstDash val="solid"/>
                <a:miter lim="11906"/>
                <a:headEnd type="none" w="sm" len="sm"/>
                <a:tailEnd type="none" w="sm" len="sm"/>
              </a:ln>
            </p:spPr>
            <p:txBody>
              <a:bodyPr spcFirstLastPara="1" wrap="square" lIns="99044" tIns="99044" rIns="99044" bIns="99044" anchor="ctr" anchorCtr="0">
                <a:noAutofit/>
              </a:bodyPr>
              <a:lstStyle/>
              <a:p>
                <a:pPr algn="ctr">
                  <a:buClr>
                    <a:schemeClr val="dk1"/>
                  </a:buClr>
                  <a:buSzPts val="1100"/>
                </a:pPr>
                <a:r>
                  <a:rPr lang="en-US" sz="1400" dirty="0">
                    <a:solidFill>
                      <a:schemeClr val="accent1"/>
                    </a:solidFill>
                    <a:latin typeface="Fira Sans Extra Condensed Medium"/>
                  </a:rPr>
                  <a:t>6. Employee</a:t>
                </a:r>
                <a:endParaRPr sz="1400" dirty="0">
                  <a:solidFill>
                    <a:schemeClr val="accent1"/>
                  </a:solidFill>
                  <a:latin typeface="Fira Sans Extra Condensed Medium"/>
                </a:endParaRPr>
              </a:p>
            </p:txBody>
          </p:sp>
          <p:sp>
            <p:nvSpPr>
              <p:cNvPr id="28" name="Google Shape;809;p29">
                <a:extLst>
                  <a:ext uri="{FF2B5EF4-FFF2-40B4-BE49-F238E27FC236}">
                    <a16:creationId xmlns:a16="http://schemas.microsoft.com/office/drawing/2014/main" id="{B05B629F-144B-40CC-991F-92DDEBDFB036}"/>
                  </a:ext>
                </a:extLst>
              </p:cNvPr>
              <p:cNvSpPr/>
              <p:nvPr/>
            </p:nvSpPr>
            <p:spPr>
              <a:xfrm>
                <a:off x="4059738" y="1366850"/>
                <a:ext cx="560200" cy="538775"/>
              </a:xfrm>
              <a:custGeom>
                <a:avLst/>
                <a:gdLst/>
                <a:ahLst/>
                <a:cxnLst/>
                <a:rect l="l" t="t" r="r" b="b"/>
                <a:pathLst>
                  <a:path w="22408" h="21551" extrusionOk="0">
                    <a:moveTo>
                      <a:pt x="0" y="0"/>
                    </a:moveTo>
                    <a:lnTo>
                      <a:pt x="0" y="21550"/>
                    </a:lnTo>
                    <a:lnTo>
                      <a:pt x="22408" y="21550"/>
                    </a:lnTo>
                    <a:lnTo>
                      <a:pt x="22408" y="0"/>
                    </a:lnTo>
                    <a:close/>
                  </a:path>
                </a:pathLst>
              </a:custGeom>
              <a:solidFill>
                <a:schemeClr val="accent1"/>
              </a:solidFill>
              <a:ln>
                <a:noFill/>
              </a:ln>
            </p:spPr>
            <p:txBody>
              <a:bodyPr spcFirstLastPara="1" wrap="square" lIns="99044" tIns="99044" rIns="99044" bIns="99044" anchor="ctr" anchorCtr="0">
                <a:noAutofit/>
              </a:bodyPr>
              <a:lstStyle/>
              <a:p>
                <a:pPr algn="ctr">
                  <a:buClr>
                    <a:schemeClr val="dk1"/>
                  </a:buClr>
                  <a:buSzPts val="1100"/>
                </a:pPr>
                <a:endParaRPr sz="1100">
                  <a:solidFill>
                    <a:srgbClr val="FFFFFF"/>
                  </a:solidFill>
                  <a:latin typeface="Roboto"/>
                  <a:ea typeface="Roboto"/>
                  <a:cs typeface="Roboto"/>
                  <a:sym typeface="Roboto"/>
                </a:endParaRPr>
              </a:p>
            </p:txBody>
          </p:sp>
          <p:sp>
            <p:nvSpPr>
              <p:cNvPr id="29" name="Google Shape;810;p29">
                <a:extLst>
                  <a:ext uri="{FF2B5EF4-FFF2-40B4-BE49-F238E27FC236}">
                    <a16:creationId xmlns:a16="http://schemas.microsoft.com/office/drawing/2014/main" id="{6BCCE5C1-0B1E-4B27-B9D4-925DC7CB2C08}"/>
                  </a:ext>
                </a:extLst>
              </p:cNvPr>
              <p:cNvSpPr txBox="1"/>
              <p:nvPr/>
            </p:nvSpPr>
            <p:spPr>
              <a:xfrm>
                <a:off x="710275" y="1390775"/>
                <a:ext cx="1807200" cy="534900"/>
              </a:xfrm>
              <a:prstGeom prst="rect">
                <a:avLst/>
              </a:prstGeom>
              <a:noFill/>
              <a:ln>
                <a:noFill/>
              </a:ln>
            </p:spPr>
            <p:txBody>
              <a:bodyPr spcFirstLastPara="1" wrap="square" lIns="99044" tIns="99044" rIns="99044" bIns="99044" anchor="ctr" anchorCtr="0">
                <a:noAutofit/>
              </a:bodyPr>
              <a:lstStyle/>
              <a:p>
                <a:r>
                  <a:rPr lang="en-US" sz="1400" dirty="0">
                    <a:solidFill>
                      <a:srgbClr val="293745"/>
                    </a:solidFill>
                    <a:latin typeface="inherit"/>
                  </a:rPr>
                  <a:t>Competent and qualified personnel</a:t>
                </a:r>
                <a:endParaRPr sz="1400" dirty="0">
                  <a:solidFill>
                    <a:srgbClr val="293745"/>
                  </a:solidFill>
                  <a:latin typeface="inherit"/>
                  <a:sym typeface="Roboto"/>
                </a:endParaRPr>
              </a:p>
            </p:txBody>
          </p:sp>
        </p:grpSp>
        <p:grpSp>
          <p:nvGrpSpPr>
            <p:cNvPr id="13" name="Google Shape;811;p29">
              <a:extLst>
                <a:ext uri="{FF2B5EF4-FFF2-40B4-BE49-F238E27FC236}">
                  <a16:creationId xmlns:a16="http://schemas.microsoft.com/office/drawing/2014/main" id="{30003461-78E5-49B5-97B0-9C692E8AF876}"/>
                </a:ext>
              </a:extLst>
            </p:cNvPr>
            <p:cNvGrpSpPr/>
            <p:nvPr/>
          </p:nvGrpSpPr>
          <p:grpSpPr>
            <a:xfrm>
              <a:off x="4531497" y="2251060"/>
              <a:ext cx="328949" cy="328898"/>
              <a:chOff x="2685825" y="840375"/>
              <a:chExt cx="481900" cy="481825"/>
            </a:xfrm>
          </p:grpSpPr>
          <p:sp>
            <p:nvSpPr>
              <p:cNvPr id="25" name="Google Shape;812;p29">
                <a:extLst>
                  <a:ext uri="{FF2B5EF4-FFF2-40B4-BE49-F238E27FC236}">
                    <a16:creationId xmlns:a16="http://schemas.microsoft.com/office/drawing/2014/main" id="{D85168FC-7C6A-4816-82F4-6951CB251802}"/>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6" name="Google Shape;813;p29">
                <a:extLst>
                  <a:ext uri="{FF2B5EF4-FFF2-40B4-BE49-F238E27FC236}">
                    <a16:creationId xmlns:a16="http://schemas.microsoft.com/office/drawing/2014/main" id="{D0908B66-EEBB-4497-9B72-1DDED0673E2C}"/>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nvGrpSpPr>
            <p:cNvPr id="14" name="Google Shape;814;p29">
              <a:extLst>
                <a:ext uri="{FF2B5EF4-FFF2-40B4-BE49-F238E27FC236}">
                  <a16:creationId xmlns:a16="http://schemas.microsoft.com/office/drawing/2014/main" id="{0CD61596-BA4D-43C0-BA13-FDF92D42B827}"/>
                </a:ext>
              </a:extLst>
            </p:cNvPr>
            <p:cNvGrpSpPr/>
            <p:nvPr/>
          </p:nvGrpSpPr>
          <p:grpSpPr>
            <a:xfrm>
              <a:off x="4526105" y="3624474"/>
              <a:ext cx="339734" cy="329512"/>
              <a:chOff x="3270675" y="841800"/>
              <a:chExt cx="497700" cy="482725"/>
            </a:xfrm>
          </p:grpSpPr>
          <p:sp>
            <p:nvSpPr>
              <p:cNvPr id="22" name="Google Shape;815;p29">
                <a:extLst>
                  <a:ext uri="{FF2B5EF4-FFF2-40B4-BE49-F238E27FC236}">
                    <a16:creationId xmlns:a16="http://schemas.microsoft.com/office/drawing/2014/main" id="{88FE94F4-2A93-41F8-8588-C878683E32D0}"/>
                  </a:ext>
                </a:extLst>
              </p:cNvPr>
              <p:cNvSpPr/>
              <p:nvPr/>
            </p:nvSpPr>
            <p:spPr>
              <a:xfrm>
                <a:off x="3270675" y="902000"/>
                <a:ext cx="447125" cy="422525"/>
              </a:xfrm>
              <a:custGeom>
                <a:avLst/>
                <a:gdLst/>
                <a:ahLst/>
                <a:cxnLst/>
                <a:rect l="l" t="t" r="r" b="b"/>
                <a:pathLst>
                  <a:path w="17885" h="16901" extrusionOk="0">
                    <a:moveTo>
                      <a:pt x="3454" y="0"/>
                    </a:moveTo>
                    <a:cubicBezTo>
                      <a:pt x="3343" y="0"/>
                      <a:pt x="3231" y="40"/>
                      <a:pt x="3141" y="122"/>
                    </a:cubicBezTo>
                    <a:cubicBezTo>
                      <a:pt x="1160" y="1940"/>
                      <a:pt x="0" y="4548"/>
                      <a:pt x="0" y="7246"/>
                    </a:cubicBezTo>
                    <a:cubicBezTo>
                      <a:pt x="0" y="12579"/>
                      <a:pt x="4325" y="16900"/>
                      <a:pt x="9657" y="16900"/>
                    </a:cubicBezTo>
                    <a:cubicBezTo>
                      <a:pt x="10907" y="16900"/>
                      <a:pt x="12175" y="16662"/>
                      <a:pt x="13331" y="16178"/>
                    </a:cubicBezTo>
                    <a:cubicBezTo>
                      <a:pt x="15126" y="15434"/>
                      <a:pt x="16659" y="14169"/>
                      <a:pt x="17728" y="12546"/>
                    </a:cubicBezTo>
                    <a:cubicBezTo>
                      <a:pt x="17884" y="12305"/>
                      <a:pt x="17788" y="11983"/>
                      <a:pt x="17526" y="11866"/>
                    </a:cubicBezTo>
                    <a:lnTo>
                      <a:pt x="9158" y="8171"/>
                    </a:lnTo>
                    <a:cubicBezTo>
                      <a:pt x="9016" y="8108"/>
                      <a:pt x="8896" y="8005"/>
                      <a:pt x="8811" y="7876"/>
                    </a:cubicBezTo>
                    <a:lnTo>
                      <a:pt x="8405" y="7246"/>
                    </a:lnTo>
                    <a:lnTo>
                      <a:pt x="3846" y="212"/>
                    </a:lnTo>
                    <a:cubicBezTo>
                      <a:pt x="3756" y="73"/>
                      <a:pt x="3606" y="0"/>
                      <a:pt x="3454"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3" name="Google Shape;816;p29">
                <a:extLst>
                  <a:ext uri="{FF2B5EF4-FFF2-40B4-BE49-F238E27FC236}">
                    <a16:creationId xmlns:a16="http://schemas.microsoft.com/office/drawing/2014/main" id="{58602CB9-682A-4A03-BAA1-B04C564E0055}"/>
                  </a:ext>
                </a:extLst>
              </p:cNvPr>
              <p:cNvSpPr/>
              <p:nvPr/>
            </p:nvSpPr>
            <p:spPr>
              <a:xfrm>
                <a:off x="3385250" y="841800"/>
                <a:ext cx="279700" cy="220925"/>
              </a:xfrm>
              <a:custGeom>
                <a:avLst/>
                <a:gdLst/>
                <a:ahLst/>
                <a:cxnLst/>
                <a:rect l="l" t="t" r="r" b="b"/>
                <a:pathLst>
                  <a:path w="11188" h="8837" extrusionOk="0">
                    <a:moveTo>
                      <a:pt x="5070" y="0"/>
                    </a:moveTo>
                    <a:cubicBezTo>
                      <a:pt x="3434" y="0"/>
                      <a:pt x="1792" y="415"/>
                      <a:pt x="308" y="1256"/>
                    </a:cubicBezTo>
                    <a:cubicBezTo>
                      <a:pt x="76" y="1388"/>
                      <a:pt x="1" y="1690"/>
                      <a:pt x="148" y="1912"/>
                    </a:cubicBezTo>
                    <a:lnTo>
                      <a:pt x="4532" y="8676"/>
                    </a:lnTo>
                    <a:cubicBezTo>
                      <a:pt x="4601" y="8781"/>
                      <a:pt x="4714" y="8837"/>
                      <a:pt x="4828" y="8837"/>
                    </a:cubicBezTo>
                    <a:cubicBezTo>
                      <a:pt x="4919" y="8837"/>
                      <a:pt x="5010" y="8802"/>
                      <a:pt x="5081" y="8730"/>
                    </a:cubicBezTo>
                    <a:lnTo>
                      <a:pt x="10992" y="2683"/>
                    </a:lnTo>
                    <a:cubicBezTo>
                      <a:pt x="11187" y="2482"/>
                      <a:pt x="11163" y="2156"/>
                      <a:pt x="10940" y="1988"/>
                    </a:cubicBezTo>
                    <a:cubicBezTo>
                      <a:pt x="9218" y="670"/>
                      <a:pt x="7149" y="0"/>
                      <a:pt x="5070"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4" name="Google Shape;817;p29">
                <a:extLst>
                  <a:ext uri="{FF2B5EF4-FFF2-40B4-BE49-F238E27FC236}">
                    <a16:creationId xmlns:a16="http://schemas.microsoft.com/office/drawing/2014/main" id="{3BD2FAD0-B1C4-4F1A-A7DB-1BE6553ECAD0}"/>
                  </a:ext>
                </a:extLst>
              </p:cNvPr>
              <p:cNvSpPr/>
              <p:nvPr/>
            </p:nvSpPr>
            <p:spPr>
              <a:xfrm>
                <a:off x="3530100" y="924750"/>
                <a:ext cx="238275" cy="250200"/>
              </a:xfrm>
              <a:custGeom>
                <a:avLst/>
                <a:gdLst/>
                <a:ahLst/>
                <a:cxnLst/>
                <a:rect l="l" t="t" r="r" b="b"/>
                <a:pathLst>
                  <a:path w="9531" h="10008" extrusionOk="0">
                    <a:moveTo>
                      <a:pt x="6350" y="1"/>
                    </a:moveTo>
                    <a:cubicBezTo>
                      <a:pt x="6230" y="1"/>
                      <a:pt x="6108" y="47"/>
                      <a:pt x="6017" y="142"/>
                    </a:cubicBezTo>
                    <a:lnTo>
                      <a:pt x="172" y="6123"/>
                    </a:lnTo>
                    <a:cubicBezTo>
                      <a:pt x="0" y="6297"/>
                      <a:pt x="57" y="6589"/>
                      <a:pt x="283" y="6689"/>
                    </a:cubicBezTo>
                    <a:lnTo>
                      <a:pt x="7706" y="9968"/>
                    </a:lnTo>
                    <a:cubicBezTo>
                      <a:pt x="7767" y="9995"/>
                      <a:pt x="7830" y="10007"/>
                      <a:pt x="7893" y="10007"/>
                    </a:cubicBezTo>
                    <a:cubicBezTo>
                      <a:pt x="8082" y="10007"/>
                      <a:pt x="8261" y="9890"/>
                      <a:pt x="8329" y="9700"/>
                    </a:cubicBezTo>
                    <a:cubicBezTo>
                      <a:pt x="9531" y="6463"/>
                      <a:pt x="8913" y="2828"/>
                      <a:pt x="6706" y="169"/>
                    </a:cubicBezTo>
                    <a:cubicBezTo>
                      <a:pt x="6615" y="57"/>
                      <a:pt x="6483" y="1"/>
                      <a:pt x="6350"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sp>
          <p:nvSpPr>
            <p:cNvPr id="15" name="Google Shape;818;p29">
              <a:extLst>
                <a:ext uri="{FF2B5EF4-FFF2-40B4-BE49-F238E27FC236}">
                  <a16:creationId xmlns:a16="http://schemas.microsoft.com/office/drawing/2014/main" id="{54BA9050-51BA-4EF9-9703-B20864EBDBB6}"/>
                </a:ext>
              </a:extLst>
            </p:cNvPr>
            <p:cNvSpPr/>
            <p:nvPr/>
          </p:nvSpPr>
          <p:spPr>
            <a:xfrm>
              <a:off x="5045165" y="2948195"/>
              <a:ext cx="328898" cy="308351"/>
            </a:xfrm>
            <a:custGeom>
              <a:avLst/>
              <a:gdLst/>
              <a:ahLst/>
              <a:cxnLst/>
              <a:rect l="l" t="t" r="r" b="b"/>
              <a:pathLst>
                <a:path w="19273" h="18069" extrusionOk="0">
                  <a:moveTo>
                    <a:pt x="5456" y="7679"/>
                  </a:moveTo>
                  <a:cubicBezTo>
                    <a:pt x="6294" y="7679"/>
                    <a:pt x="6715" y="8694"/>
                    <a:pt x="6122" y="9284"/>
                  </a:cubicBezTo>
                  <a:cubicBezTo>
                    <a:pt x="5930" y="9476"/>
                    <a:pt x="5694" y="9562"/>
                    <a:pt x="5462" y="9562"/>
                  </a:cubicBezTo>
                  <a:cubicBezTo>
                    <a:pt x="4979" y="9562"/>
                    <a:pt x="4517" y="9188"/>
                    <a:pt x="4517" y="8622"/>
                  </a:cubicBezTo>
                  <a:cubicBezTo>
                    <a:pt x="4517" y="8101"/>
                    <a:pt x="4936" y="7679"/>
                    <a:pt x="5456" y="7679"/>
                  </a:cubicBezTo>
                  <a:close/>
                  <a:moveTo>
                    <a:pt x="9636" y="7679"/>
                  </a:moveTo>
                  <a:cubicBezTo>
                    <a:pt x="10473" y="7679"/>
                    <a:pt x="10892" y="8694"/>
                    <a:pt x="10299" y="9284"/>
                  </a:cubicBezTo>
                  <a:cubicBezTo>
                    <a:pt x="10107" y="9476"/>
                    <a:pt x="9872" y="9562"/>
                    <a:pt x="9640" y="9562"/>
                  </a:cubicBezTo>
                  <a:cubicBezTo>
                    <a:pt x="9157" y="9562"/>
                    <a:pt x="8694" y="9188"/>
                    <a:pt x="8694" y="8622"/>
                  </a:cubicBezTo>
                  <a:cubicBezTo>
                    <a:pt x="8694" y="8101"/>
                    <a:pt x="9115" y="7679"/>
                    <a:pt x="9636" y="7679"/>
                  </a:cubicBezTo>
                  <a:close/>
                  <a:moveTo>
                    <a:pt x="13813" y="7679"/>
                  </a:moveTo>
                  <a:cubicBezTo>
                    <a:pt x="14650" y="7679"/>
                    <a:pt x="15071" y="8694"/>
                    <a:pt x="14478" y="9284"/>
                  </a:cubicBezTo>
                  <a:cubicBezTo>
                    <a:pt x="14286" y="9476"/>
                    <a:pt x="14050" y="9562"/>
                    <a:pt x="13819" y="9562"/>
                  </a:cubicBezTo>
                  <a:cubicBezTo>
                    <a:pt x="13336" y="9562"/>
                    <a:pt x="12873" y="9188"/>
                    <a:pt x="12873" y="8622"/>
                  </a:cubicBezTo>
                  <a:cubicBezTo>
                    <a:pt x="12873" y="8101"/>
                    <a:pt x="13292" y="7679"/>
                    <a:pt x="13813" y="7679"/>
                  </a:cubicBezTo>
                  <a:close/>
                  <a:moveTo>
                    <a:pt x="9597" y="1"/>
                  </a:moveTo>
                  <a:cubicBezTo>
                    <a:pt x="4303" y="1"/>
                    <a:pt x="0" y="3801"/>
                    <a:pt x="0" y="8471"/>
                  </a:cubicBezTo>
                  <a:cubicBezTo>
                    <a:pt x="0" y="10444"/>
                    <a:pt x="780" y="12356"/>
                    <a:pt x="2201" y="13870"/>
                  </a:cubicBezTo>
                  <a:cubicBezTo>
                    <a:pt x="2481" y="15033"/>
                    <a:pt x="2138" y="16258"/>
                    <a:pt x="1292" y="17104"/>
                  </a:cubicBezTo>
                  <a:cubicBezTo>
                    <a:pt x="940" y="17460"/>
                    <a:pt x="1190" y="18068"/>
                    <a:pt x="1692" y="18068"/>
                  </a:cubicBezTo>
                  <a:cubicBezTo>
                    <a:pt x="3300" y="18065"/>
                    <a:pt x="4845" y="17442"/>
                    <a:pt x="6005" y="16328"/>
                  </a:cubicBezTo>
                  <a:cubicBezTo>
                    <a:pt x="7150" y="16731"/>
                    <a:pt x="8357" y="16939"/>
                    <a:pt x="9571" y="16939"/>
                  </a:cubicBezTo>
                  <a:cubicBezTo>
                    <a:pt x="9579" y="16939"/>
                    <a:pt x="9588" y="16939"/>
                    <a:pt x="9597" y="16939"/>
                  </a:cubicBezTo>
                  <a:cubicBezTo>
                    <a:pt x="14891" y="16939"/>
                    <a:pt x="19272" y="13139"/>
                    <a:pt x="19272" y="8471"/>
                  </a:cubicBezTo>
                  <a:cubicBezTo>
                    <a:pt x="19272" y="3801"/>
                    <a:pt x="14891" y="1"/>
                    <a:pt x="9597"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nvGrpSpPr>
            <p:cNvPr id="16" name="Google Shape;819;p29">
              <a:extLst>
                <a:ext uri="{FF2B5EF4-FFF2-40B4-BE49-F238E27FC236}">
                  <a16:creationId xmlns:a16="http://schemas.microsoft.com/office/drawing/2014/main" id="{C9590CBA-2FE0-40E9-97A6-CA86DFA8F0F7}"/>
                </a:ext>
              </a:extLst>
            </p:cNvPr>
            <p:cNvGrpSpPr/>
            <p:nvPr/>
          </p:nvGrpSpPr>
          <p:grpSpPr>
            <a:xfrm>
              <a:off x="5045165" y="4311451"/>
              <a:ext cx="328898" cy="328898"/>
              <a:chOff x="3271200" y="1435075"/>
              <a:chExt cx="481825" cy="481825"/>
            </a:xfrm>
          </p:grpSpPr>
          <p:sp>
            <p:nvSpPr>
              <p:cNvPr id="20" name="Google Shape;820;p29">
                <a:extLst>
                  <a:ext uri="{FF2B5EF4-FFF2-40B4-BE49-F238E27FC236}">
                    <a16:creationId xmlns:a16="http://schemas.microsoft.com/office/drawing/2014/main" id="{C7C77281-3373-41E2-8B6D-25EC8BA93BE6}"/>
                  </a:ext>
                </a:extLst>
              </p:cNvPr>
              <p:cNvSpPr/>
              <p:nvPr/>
            </p:nvSpPr>
            <p:spPr>
              <a:xfrm>
                <a:off x="3271200" y="1435075"/>
                <a:ext cx="481825" cy="481825"/>
              </a:xfrm>
              <a:custGeom>
                <a:avLst/>
                <a:gdLst/>
                <a:ahLst/>
                <a:cxnLst/>
                <a:rect l="l" t="t" r="r" b="b"/>
                <a:pathLst>
                  <a:path w="19273" h="19273" extrusionOk="0">
                    <a:moveTo>
                      <a:pt x="9597" y="2259"/>
                    </a:moveTo>
                    <a:cubicBezTo>
                      <a:pt x="13635" y="2259"/>
                      <a:pt x="17014" y="5545"/>
                      <a:pt x="17014" y="9601"/>
                    </a:cubicBezTo>
                    <a:cubicBezTo>
                      <a:pt x="17014" y="13636"/>
                      <a:pt x="13654" y="17014"/>
                      <a:pt x="9597" y="17014"/>
                    </a:cubicBezTo>
                    <a:cubicBezTo>
                      <a:pt x="5562" y="17014"/>
                      <a:pt x="2259" y="13654"/>
                      <a:pt x="2259" y="9601"/>
                    </a:cubicBezTo>
                    <a:cubicBezTo>
                      <a:pt x="2259" y="5563"/>
                      <a:pt x="5541" y="2259"/>
                      <a:pt x="9597" y="2259"/>
                    </a:cubicBezTo>
                    <a:close/>
                    <a:moveTo>
                      <a:pt x="9597" y="1"/>
                    </a:moveTo>
                    <a:cubicBezTo>
                      <a:pt x="4304" y="1"/>
                      <a:pt x="0" y="4307"/>
                      <a:pt x="0" y="9601"/>
                    </a:cubicBezTo>
                    <a:cubicBezTo>
                      <a:pt x="0" y="14892"/>
                      <a:pt x="4304" y="19273"/>
                      <a:pt x="9597" y="19273"/>
                    </a:cubicBezTo>
                    <a:cubicBezTo>
                      <a:pt x="14891" y="19273"/>
                      <a:pt x="19272" y="14892"/>
                      <a:pt x="19272" y="9601"/>
                    </a:cubicBezTo>
                    <a:cubicBezTo>
                      <a:pt x="19272" y="4307"/>
                      <a:pt x="14891" y="1"/>
                      <a:pt x="9597"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21" name="Google Shape;821;p29">
                <a:extLst>
                  <a:ext uri="{FF2B5EF4-FFF2-40B4-BE49-F238E27FC236}">
                    <a16:creationId xmlns:a16="http://schemas.microsoft.com/office/drawing/2014/main" id="{C347D2AC-8069-4E27-9CDE-CF69780F9348}"/>
                  </a:ext>
                </a:extLst>
              </p:cNvPr>
              <p:cNvSpPr/>
              <p:nvPr/>
            </p:nvSpPr>
            <p:spPr>
              <a:xfrm>
                <a:off x="3356575" y="1520525"/>
                <a:ext cx="311000" cy="311025"/>
              </a:xfrm>
              <a:custGeom>
                <a:avLst/>
                <a:gdLst/>
                <a:ahLst/>
                <a:cxnLst/>
                <a:rect l="l" t="t" r="r" b="b"/>
                <a:pathLst>
                  <a:path w="12440" h="12441" extrusionOk="0">
                    <a:moveTo>
                      <a:pt x="8516" y="3359"/>
                    </a:moveTo>
                    <a:cubicBezTo>
                      <a:pt x="8661" y="3359"/>
                      <a:pt x="8805" y="3414"/>
                      <a:pt x="8917" y="3524"/>
                    </a:cubicBezTo>
                    <a:cubicBezTo>
                      <a:pt x="9136" y="3744"/>
                      <a:pt x="9136" y="4102"/>
                      <a:pt x="8917" y="4322"/>
                    </a:cubicBezTo>
                    <a:lnTo>
                      <a:pt x="7056" y="6183"/>
                    </a:lnTo>
                    <a:lnTo>
                      <a:pt x="8917" y="8041"/>
                    </a:lnTo>
                    <a:cubicBezTo>
                      <a:pt x="9326" y="8453"/>
                      <a:pt x="8939" y="9009"/>
                      <a:pt x="8502" y="9009"/>
                    </a:cubicBezTo>
                    <a:cubicBezTo>
                      <a:pt x="8371" y="9009"/>
                      <a:pt x="8235" y="8959"/>
                      <a:pt x="8116" y="8839"/>
                    </a:cubicBezTo>
                    <a:lnTo>
                      <a:pt x="5857" y="6580"/>
                    </a:lnTo>
                    <a:cubicBezTo>
                      <a:pt x="5637" y="6360"/>
                      <a:pt x="5637" y="6002"/>
                      <a:pt x="5857" y="5782"/>
                    </a:cubicBezTo>
                    <a:lnTo>
                      <a:pt x="8116" y="3524"/>
                    </a:lnTo>
                    <a:cubicBezTo>
                      <a:pt x="8227" y="3414"/>
                      <a:pt x="8372" y="3359"/>
                      <a:pt x="8516" y="3359"/>
                    </a:cubicBezTo>
                    <a:close/>
                    <a:moveTo>
                      <a:pt x="5619" y="1"/>
                    </a:moveTo>
                    <a:cubicBezTo>
                      <a:pt x="4367" y="112"/>
                      <a:pt x="3177" y="606"/>
                      <a:pt x="2214" y="1413"/>
                    </a:cubicBezTo>
                    <a:lnTo>
                      <a:pt x="2590" y="1789"/>
                    </a:lnTo>
                    <a:cubicBezTo>
                      <a:pt x="3002" y="2199"/>
                      <a:pt x="2615" y="2757"/>
                      <a:pt x="2178" y="2757"/>
                    </a:cubicBezTo>
                    <a:cubicBezTo>
                      <a:pt x="2047" y="2757"/>
                      <a:pt x="1912" y="2707"/>
                      <a:pt x="1792" y="2587"/>
                    </a:cubicBezTo>
                    <a:lnTo>
                      <a:pt x="1416" y="2211"/>
                    </a:lnTo>
                    <a:cubicBezTo>
                      <a:pt x="609" y="3175"/>
                      <a:pt x="118" y="4364"/>
                      <a:pt x="3" y="5617"/>
                    </a:cubicBezTo>
                    <a:lnTo>
                      <a:pt x="536" y="5617"/>
                    </a:lnTo>
                    <a:cubicBezTo>
                      <a:pt x="1280" y="5617"/>
                      <a:pt x="1283" y="6746"/>
                      <a:pt x="536" y="6746"/>
                    </a:cubicBezTo>
                    <a:lnTo>
                      <a:pt x="0" y="6746"/>
                    </a:lnTo>
                    <a:cubicBezTo>
                      <a:pt x="118" y="8035"/>
                      <a:pt x="627" y="9287"/>
                      <a:pt x="1413" y="10227"/>
                    </a:cubicBezTo>
                    <a:lnTo>
                      <a:pt x="1789" y="9850"/>
                    </a:lnTo>
                    <a:cubicBezTo>
                      <a:pt x="1910" y="9730"/>
                      <a:pt x="2045" y="9679"/>
                      <a:pt x="2176" y="9679"/>
                    </a:cubicBezTo>
                    <a:cubicBezTo>
                      <a:pt x="2613" y="9679"/>
                      <a:pt x="2995" y="10244"/>
                      <a:pt x="2587" y="10651"/>
                    </a:cubicBezTo>
                    <a:lnTo>
                      <a:pt x="2211" y="11028"/>
                    </a:lnTo>
                    <a:cubicBezTo>
                      <a:pt x="3174" y="11832"/>
                      <a:pt x="4364" y="12326"/>
                      <a:pt x="5616" y="12440"/>
                    </a:cubicBezTo>
                    <a:lnTo>
                      <a:pt x="5616" y="11904"/>
                    </a:lnTo>
                    <a:cubicBezTo>
                      <a:pt x="5616" y="11530"/>
                      <a:pt x="5899" y="11343"/>
                      <a:pt x="6182" y="11343"/>
                    </a:cubicBezTo>
                    <a:cubicBezTo>
                      <a:pt x="6464" y="11343"/>
                      <a:pt x="6745" y="11530"/>
                      <a:pt x="6745" y="11904"/>
                    </a:cubicBezTo>
                    <a:lnTo>
                      <a:pt x="6745" y="12440"/>
                    </a:lnTo>
                    <a:cubicBezTo>
                      <a:pt x="8034" y="12323"/>
                      <a:pt x="9287" y="11811"/>
                      <a:pt x="10226" y="11028"/>
                    </a:cubicBezTo>
                    <a:lnTo>
                      <a:pt x="9850" y="10651"/>
                    </a:lnTo>
                    <a:cubicBezTo>
                      <a:pt x="9445" y="10246"/>
                      <a:pt x="9822" y="9678"/>
                      <a:pt x="10259" y="9678"/>
                    </a:cubicBezTo>
                    <a:cubicBezTo>
                      <a:pt x="10390" y="9678"/>
                      <a:pt x="10526" y="9729"/>
                      <a:pt x="10648" y="9850"/>
                    </a:cubicBezTo>
                    <a:lnTo>
                      <a:pt x="11024" y="10227"/>
                    </a:lnTo>
                    <a:cubicBezTo>
                      <a:pt x="11810" y="9287"/>
                      <a:pt x="12319" y="8035"/>
                      <a:pt x="12437" y="6746"/>
                    </a:cubicBezTo>
                    <a:lnTo>
                      <a:pt x="11904" y="6746"/>
                    </a:lnTo>
                    <a:cubicBezTo>
                      <a:pt x="11160" y="6746"/>
                      <a:pt x="11157" y="5617"/>
                      <a:pt x="11904" y="5617"/>
                    </a:cubicBezTo>
                    <a:lnTo>
                      <a:pt x="12440" y="5617"/>
                    </a:lnTo>
                    <a:cubicBezTo>
                      <a:pt x="12325" y="4364"/>
                      <a:pt x="11834" y="3175"/>
                      <a:pt x="11027" y="2211"/>
                    </a:cubicBezTo>
                    <a:lnTo>
                      <a:pt x="10651" y="2587"/>
                    </a:lnTo>
                    <a:cubicBezTo>
                      <a:pt x="10529" y="2709"/>
                      <a:pt x="10392" y="2760"/>
                      <a:pt x="10261" y="2760"/>
                    </a:cubicBezTo>
                    <a:cubicBezTo>
                      <a:pt x="9823" y="2760"/>
                      <a:pt x="9443" y="2197"/>
                      <a:pt x="9853" y="1789"/>
                    </a:cubicBezTo>
                    <a:lnTo>
                      <a:pt x="10232" y="1413"/>
                    </a:lnTo>
                    <a:cubicBezTo>
                      <a:pt x="9290" y="627"/>
                      <a:pt x="8037" y="115"/>
                      <a:pt x="6748" y="1"/>
                    </a:cubicBezTo>
                    <a:lnTo>
                      <a:pt x="6748" y="537"/>
                    </a:lnTo>
                    <a:cubicBezTo>
                      <a:pt x="6748" y="909"/>
                      <a:pt x="6466" y="1096"/>
                      <a:pt x="6183" y="1096"/>
                    </a:cubicBezTo>
                    <a:cubicBezTo>
                      <a:pt x="5901" y="1096"/>
                      <a:pt x="5619" y="910"/>
                      <a:pt x="5619" y="537"/>
                    </a:cubicBezTo>
                    <a:lnTo>
                      <a:pt x="5619" y="1"/>
                    </a:ln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nvGrpSpPr>
            <p:cNvPr id="17" name="Google Shape;822;p29">
              <a:extLst>
                <a:ext uri="{FF2B5EF4-FFF2-40B4-BE49-F238E27FC236}">
                  <a16:creationId xmlns:a16="http://schemas.microsoft.com/office/drawing/2014/main" id="{17BA5BF9-554A-46DD-B642-C2308F495FD2}"/>
                </a:ext>
              </a:extLst>
            </p:cNvPr>
            <p:cNvGrpSpPr/>
            <p:nvPr/>
          </p:nvGrpSpPr>
          <p:grpSpPr>
            <a:xfrm>
              <a:off x="4534611" y="4998146"/>
              <a:ext cx="322721" cy="322721"/>
              <a:chOff x="6239925" y="2032450"/>
              <a:chExt cx="472775" cy="472775"/>
            </a:xfrm>
          </p:grpSpPr>
          <p:sp>
            <p:nvSpPr>
              <p:cNvPr id="18" name="Google Shape;823;p29">
                <a:extLst>
                  <a:ext uri="{FF2B5EF4-FFF2-40B4-BE49-F238E27FC236}">
                    <a16:creationId xmlns:a16="http://schemas.microsoft.com/office/drawing/2014/main" id="{6076063A-82B4-4A45-922A-543CD304AE48}"/>
                  </a:ext>
                </a:extLst>
              </p:cNvPr>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sp>
            <p:nvSpPr>
              <p:cNvPr id="19" name="Google Shape;824;p29">
                <a:extLst>
                  <a:ext uri="{FF2B5EF4-FFF2-40B4-BE49-F238E27FC236}">
                    <a16:creationId xmlns:a16="http://schemas.microsoft.com/office/drawing/2014/main" id="{05F4E6D4-C701-4E8C-A655-74DFF353EDE5}"/>
                  </a:ext>
                </a:extLst>
              </p:cNvPr>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rgbClr val="FFFFFF"/>
              </a:solidFill>
              <a:ln>
                <a:noFill/>
              </a:ln>
            </p:spPr>
            <p:txBody>
              <a:bodyPr spcFirstLastPara="1" wrap="square" lIns="99044" tIns="99044" rIns="99044" bIns="99044" anchor="ctr" anchorCtr="0">
                <a:noAutofit/>
              </a:bodyPr>
              <a:lstStyle/>
              <a:p>
                <a:endParaRPr sz="1950">
                  <a:solidFill>
                    <a:srgbClr val="435D74"/>
                  </a:solidFill>
                </a:endParaRPr>
              </a:p>
            </p:txBody>
          </p:sp>
        </p:grpSp>
      </p:grpSp>
    </p:spTree>
    <p:extLst>
      <p:ext uri="{BB962C8B-B14F-4D97-AF65-F5344CB8AC3E}">
        <p14:creationId xmlns:p14="http://schemas.microsoft.com/office/powerpoint/2010/main" val="254564753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5F650-7CEB-41A1-94FC-1F413FADD3C1}"/>
              </a:ext>
            </a:extLst>
          </p:cNvPr>
          <p:cNvSpPr>
            <a:spLocks noGrp="1"/>
          </p:cNvSpPr>
          <p:nvPr>
            <p:ph type="title"/>
          </p:nvPr>
        </p:nvSpPr>
        <p:spPr/>
        <p:txBody>
          <a:bodyPr/>
          <a:lstStyle/>
          <a:p>
            <a:r>
              <a:rPr lang="en-IN" dirty="0"/>
              <a:t>Certifications</a:t>
            </a:r>
          </a:p>
        </p:txBody>
      </p:sp>
      <p:sp>
        <p:nvSpPr>
          <p:cNvPr id="4" name="Date Placeholder 3">
            <a:extLst>
              <a:ext uri="{FF2B5EF4-FFF2-40B4-BE49-F238E27FC236}">
                <a16:creationId xmlns:a16="http://schemas.microsoft.com/office/drawing/2014/main" id="{7A476DD6-516D-484E-A587-97C3816DB651}"/>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5F5593D4-0C42-40E0-AA94-97B821B16D2F}"/>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D0D2B12C-E868-4D20-8E4E-066B4DF4567F}"/>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4</a:t>
            </a:fld>
            <a:endParaRPr lang="en-US" dirty="0">
              <a:solidFill>
                <a:srgbClr val="F79646">
                  <a:lumMod val="75000"/>
                </a:srgbClr>
              </a:solidFill>
            </a:endParaRPr>
          </a:p>
        </p:txBody>
      </p:sp>
      <p:graphicFrame>
        <p:nvGraphicFramePr>
          <p:cNvPr id="7" name="Content Placeholder 6">
            <a:extLst>
              <a:ext uri="{FF2B5EF4-FFF2-40B4-BE49-F238E27FC236}">
                <a16:creationId xmlns:a16="http://schemas.microsoft.com/office/drawing/2014/main" id="{AC0E56C6-FD27-49AE-8726-9D563ADF9EF1}"/>
              </a:ext>
            </a:extLst>
          </p:cNvPr>
          <p:cNvGraphicFramePr>
            <a:graphicFrameLocks noGrp="1"/>
          </p:cNvGraphicFramePr>
          <p:nvPr>
            <p:ph idx="1"/>
            <p:extLst>
              <p:ext uri="{D42A27DB-BD31-4B8C-83A1-F6EECF244321}">
                <p14:modId xmlns:p14="http://schemas.microsoft.com/office/powerpoint/2010/main" val="544582881"/>
              </p:ext>
            </p:extLst>
          </p:nvPr>
        </p:nvGraphicFramePr>
        <p:xfrm>
          <a:off x="417600" y="1219200"/>
          <a:ext cx="6669000" cy="5013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D96A8070-58CA-4196-BF2A-F742DCCF06E6}"/>
              </a:ext>
            </a:extLst>
          </p:cNvPr>
          <p:cNvGrpSpPr/>
          <p:nvPr/>
        </p:nvGrpSpPr>
        <p:grpSpPr>
          <a:xfrm>
            <a:off x="7162800" y="2743199"/>
            <a:ext cx="2291751" cy="685801"/>
            <a:chOff x="7086600" y="2380277"/>
            <a:chExt cx="2689262" cy="820123"/>
          </a:xfrm>
        </p:grpSpPr>
        <p:pic>
          <p:nvPicPr>
            <p:cNvPr id="9" name="Picture 5" descr="Picture 5">
              <a:extLst>
                <a:ext uri="{FF2B5EF4-FFF2-40B4-BE49-F238E27FC236}">
                  <a16:creationId xmlns:a16="http://schemas.microsoft.com/office/drawing/2014/main" id="{0A29776B-B79D-4930-9DC5-1F6B79201FD4}"/>
                </a:ext>
              </a:extLst>
            </p:cNvPr>
            <p:cNvPicPr>
              <a:picLocks noChangeAspect="1"/>
            </p:cNvPicPr>
            <p:nvPr/>
          </p:nvPicPr>
          <p:blipFill>
            <a:blip r:embed="rId7"/>
            <a:stretch>
              <a:fillRect/>
            </a:stretch>
          </p:blipFill>
          <p:spPr>
            <a:xfrm>
              <a:off x="7086600" y="2380277"/>
              <a:ext cx="802704" cy="802705"/>
            </a:xfrm>
            <a:prstGeom prst="rect">
              <a:avLst/>
            </a:prstGeom>
            <a:ln w="12700">
              <a:miter lim="400000"/>
            </a:ln>
          </p:spPr>
        </p:pic>
        <p:pic>
          <p:nvPicPr>
            <p:cNvPr id="10" name="Picture 2" descr="Picture 2">
              <a:extLst>
                <a:ext uri="{FF2B5EF4-FFF2-40B4-BE49-F238E27FC236}">
                  <a16:creationId xmlns:a16="http://schemas.microsoft.com/office/drawing/2014/main" id="{477358F4-001F-4CFC-A7ED-269103542762}"/>
                </a:ext>
              </a:extLst>
            </p:cNvPr>
            <p:cNvPicPr>
              <a:picLocks noChangeAspect="1"/>
            </p:cNvPicPr>
            <p:nvPr/>
          </p:nvPicPr>
          <p:blipFill>
            <a:blip r:embed="rId8"/>
            <a:stretch>
              <a:fillRect/>
            </a:stretch>
          </p:blipFill>
          <p:spPr>
            <a:xfrm>
              <a:off x="8033677" y="2397600"/>
              <a:ext cx="937431" cy="802800"/>
            </a:xfrm>
            <a:prstGeom prst="rect">
              <a:avLst/>
            </a:prstGeom>
            <a:ln w="12700">
              <a:miter lim="400000"/>
            </a:ln>
          </p:spPr>
        </p:pic>
        <p:pic>
          <p:nvPicPr>
            <p:cNvPr id="11" name="Picture 6" descr="Picture 6">
              <a:extLst>
                <a:ext uri="{FF2B5EF4-FFF2-40B4-BE49-F238E27FC236}">
                  <a16:creationId xmlns:a16="http://schemas.microsoft.com/office/drawing/2014/main" id="{A8A1A0D3-7597-4E35-A307-483E0F12FAE5}"/>
                </a:ext>
              </a:extLst>
            </p:cNvPr>
            <p:cNvPicPr>
              <a:picLocks noChangeAspect="1"/>
            </p:cNvPicPr>
            <p:nvPr/>
          </p:nvPicPr>
          <p:blipFill>
            <a:blip r:embed="rId9"/>
            <a:stretch>
              <a:fillRect/>
            </a:stretch>
          </p:blipFill>
          <p:spPr>
            <a:xfrm>
              <a:off x="8973158" y="2384292"/>
              <a:ext cx="802704" cy="798690"/>
            </a:xfrm>
            <a:prstGeom prst="rect">
              <a:avLst/>
            </a:prstGeom>
            <a:ln w="12700">
              <a:miter lim="400000"/>
            </a:ln>
          </p:spPr>
        </p:pic>
      </p:grpSp>
      <p:grpSp>
        <p:nvGrpSpPr>
          <p:cNvPr id="3" name="Group 2">
            <a:extLst>
              <a:ext uri="{FF2B5EF4-FFF2-40B4-BE49-F238E27FC236}">
                <a16:creationId xmlns:a16="http://schemas.microsoft.com/office/drawing/2014/main" id="{88BEC23B-8F93-42DD-8BB9-F859BE489C8E}"/>
              </a:ext>
            </a:extLst>
          </p:cNvPr>
          <p:cNvGrpSpPr/>
          <p:nvPr/>
        </p:nvGrpSpPr>
        <p:grpSpPr>
          <a:xfrm>
            <a:off x="7291433" y="1496246"/>
            <a:ext cx="2004967" cy="865954"/>
            <a:chOff x="7177923" y="1496246"/>
            <a:chExt cx="1568493" cy="677439"/>
          </a:xfrm>
        </p:grpSpPr>
        <p:pic>
          <p:nvPicPr>
            <p:cNvPr id="12" name="Picture 2" descr="Picture 2">
              <a:extLst>
                <a:ext uri="{FF2B5EF4-FFF2-40B4-BE49-F238E27FC236}">
                  <a16:creationId xmlns:a16="http://schemas.microsoft.com/office/drawing/2014/main" id="{505FD77D-9D03-46E0-AE28-E90966BB343E}"/>
                </a:ext>
              </a:extLst>
            </p:cNvPr>
            <p:cNvPicPr>
              <a:picLocks noChangeAspect="1"/>
            </p:cNvPicPr>
            <p:nvPr/>
          </p:nvPicPr>
          <p:blipFill>
            <a:blip r:embed="rId10"/>
            <a:stretch>
              <a:fillRect/>
            </a:stretch>
          </p:blipFill>
          <p:spPr>
            <a:xfrm>
              <a:off x="7177923" y="1524000"/>
              <a:ext cx="684054" cy="580079"/>
            </a:xfrm>
            <a:prstGeom prst="rect">
              <a:avLst/>
            </a:prstGeom>
            <a:ln w="12700">
              <a:miter lim="400000"/>
            </a:ln>
          </p:spPr>
        </p:pic>
        <p:pic>
          <p:nvPicPr>
            <p:cNvPr id="13" name="Picture 12">
              <a:extLst>
                <a:ext uri="{FF2B5EF4-FFF2-40B4-BE49-F238E27FC236}">
                  <a16:creationId xmlns:a16="http://schemas.microsoft.com/office/drawing/2014/main" id="{67F0252B-9F22-45D0-94CC-36B15F12F8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47551" y="1496246"/>
              <a:ext cx="798865" cy="677439"/>
            </a:xfrm>
            <a:prstGeom prst="rect">
              <a:avLst/>
            </a:prstGeom>
          </p:spPr>
        </p:pic>
      </p:grpSp>
    </p:spTree>
    <p:extLst>
      <p:ext uri="{BB962C8B-B14F-4D97-AF65-F5344CB8AC3E}">
        <p14:creationId xmlns:p14="http://schemas.microsoft.com/office/powerpoint/2010/main" val="339487872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297D6-FAD4-4D64-8565-9D96C0608B28}"/>
              </a:ext>
            </a:extLst>
          </p:cNvPr>
          <p:cNvSpPr>
            <a:spLocks noGrp="1"/>
          </p:cNvSpPr>
          <p:nvPr>
            <p:ph type="title"/>
          </p:nvPr>
        </p:nvSpPr>
        <p:spPr/>
        <p:txBody>
          <a:bodyPr/>
          <a:lstStyle/>
          <a:p>
            <a:r>
              <a:rPr lang="en-IN" dirty="0"/>
              <a:t>Continuous Education </a:t>
            </a:r>
          </a:p>
        </p:txBody>
      </p:sp>
      <p:sp>
        <p:nvSpPr>
          <p:cNvPr id="3" name="Content Placeholder 2">
            <a:extLst>
              <a:ext uri="{FF2B5EF4-FFF2-40B4-BE49-F238E27FC236}">
                <a16:creationId xmlns:a16="http://schemas.microsoft.com/office/drawing/2014/main" id="{F5E5C082-DF0F-4632-8E4A-8E5FEB15DFC9}"/>
              </a:ext>
            </a:extLst>
          </p:cNvPr>
          <p:cNvSpPr>
            <a:spLocks noGrp="1"/>
          </p:cNvSpPr>
          <p:nvPr>
            <p:ph idx="1"/>
          </p:nvPr>
        </p:nvSpPr>
        <p:spPr/>
        <p:txBody>
          <a:bodyPr>
            <a:normAutofit fontScale="92500" lnSpcReduction="20000"/>
          </a:bodyPr>
          <a:lstStyle/>
          <a:p>
            <a:r>
              <a:rPr lang="en-IN" dirty="0"/>
              <a:t>Inventys places significant importance to continuously upgrading skills of Inventys team</a:t>
            </a:r>
          </a:p>
          <a:p>
            <a:pPr lvl="1"/>
            <a:endParaRPr lang="en-IN" dirty="0"/>
          </a:p>
          <a:p>
            <a:r>
              <a:rPr lang="en-IN" dirty="0"/>
              <a:t>Trainings conducted in 2023</a:t>
            </a:r>
          </a:p>
          <a:p>
            <a:pPr lvl="1"/>
            <a:r>
              <a:rPr lang="en-IN" dirty="0"/>
              <a:t>~1400</a:t>
            </a:r>
          </a:p>
          <a:p>
            <a:pPr lvl="1"/>
            <a:endParaRPr lang="en-IN" dirty="0"/>
          </a:p>
          <a:p>
            <a:r>
              <a:rPr lang="en-IN" dirty="0"/>
              <a:t>Training Categories </a:t>
            </a:r>
          </a:p>
          <a:p>
            <a:pPr lvl="1"/>
            <a:r>
              <a:rPr lang="en-IN" dirty="0"/>
              <a:t>Safety</a:t>
            </a:r>
          </a:p>
          <a:p>
            <a:pPr lvl="1"/>
            <a:r>
              <a:rPr lang="en-IN" dirty="0"/>
              <a:t>Quality</a:t>
            </a:r>
          </a:p>
          <a:p>
            <a:pPr lvl="1"/>
            <a:r>
              <a:rPr lang="en-IN" dirty="0"/>
              <a:t>Environment </a:t>
            </a:r>
          </a:p>
          <a:p>
            <a:pPr lvl="1"/>
            <a:r>
              <a:rPr lang="en-IN" dirty="0"/>
              <a:t>Health</a:t>
            </a:r>
          </a:p>
          <a:p>
            <a:pPr lvl="1"/>
            <a:r>
              <a:rPr lang="en-IN" dirty="0"/>
              <a:t>Maintenance</a:t>
            </a:r>
          </a:p>
          <a:p>
            <a:pPr lvl="1"/>
            <a:r>
              <a:rPr lang="en-IN" dirty="0"/>
              <a:t>Production Practices </a:t>
            </a:r>
          </a:p>
          <a:p>
            <a:pPr lvl="1"/>
            <a:r>
              <a:rPr lang="en-IN" dirty="0"/>
              <a:t>Organic Chemistry</a:t>
            </a:r>
          </a:p>
          <a:p>
            <a:pPr lvl="1"/>
            <a:r>
              <a:rPr lang="en-IN" dirty="0"/>
              <a:t>Analytical Chemistry </a:t>
            </a:r>
          </a:p>
          <a:p>
            <a:pPr lvl="1"/>
            <a:r>
              <a:rPr lang="en-IN" dirty="0"/>
              <a:t>Chemical Engineering</a:t>
            </a:r>
          </a:p>
          <a:p>
            <a:pPr lvl="1"/>
            <a:r>
              <a:rPr lang="en-IN" dirty="0"/>
              <a:t>etc </a:t>
            </a:r>
          </a:p>
        </p:txBody>
      </p:sp>
      <p:sp>
        <p:nvSpPr>
          <p:cNvPr id="4" name="Date Placeholder 3">
            <a:extLst>
              <a:ext uri="{FF2B5EF4-FFF2-40B4-BE49-F238E27FC236}">
                <a16:creationId xmlns:a16="http://schemas.microsoft.com/office/drawing/2014/main" id="{1AA7B49E-B7F0-4D0F-9B41-27259588FF3D}"/>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B3B627B7-976A-4334-9335-28658CBA2D08}"/>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30EA2E5D-95FE-47F0-B700-04AC4A40A157}"/>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5</a:t>
            </a:fld>
            <a:endParaRPr lang="en-US" dirty="0">
              <a:solidFill>
                <a:srgbClr val="F79646">
                  <a:lumMod val="75000"/>
                </a:srgbClr>
              </a:solidFill>
            </a:endParaRPr>
          </a:p>
        </p:txBody>
      </p:sp>
    </p:spTree>
    <p:extLst>
      <p:ext uri="{BB962C8B-B14F-4D97-AF65-F5344CB8AC3E}">
        <p14:creationId xmlns:p14="http://schemas.microsoft.com/office/powerpoint/2010/main" val="156755241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0B1411D-0E51-4E94-B673-D83438DC0D66}"/>
              </a:ext>
            </a:extLst>
          </p:cNvPr>
          <p:cNvSpPr>
            <a:spLocks noGrp="1"/>
          </p:cNvSpPr>
          <p:nvPr>
            <p:ph idx="1"/>
          </p:nvPr>
        </p:nvSpPr>
        <p:spPr/>
        <p:txBody>
          <a:bodyPr>
            <a:normAutofit fontScale="70000" lnSpcReduction="20000"/>
          </a:bodyPr>
          <a:lstStyle/>
          <a:p>
            <a:r>
              <a:rPr lang="en-IN" dirty="0"/>
              <a:t>Cross contamination prevention technical measures</a:t>
            </a:r>
          </a:p>
          <a:p>
            <a:pPr lvl="1"/>
            <a:r>
              <a:rPr lang="en-IN" dirty="0"/>
              <a:t>Separation of Product Groups</a:t>
            </a:r>
          </a:p>
          <a:p>
            <a:pPr lvl="2"/>
            <a:r>
              <a:rPr lang="en-IN" dirty="0"/>
              <a:t>Dedicated buildings </a:t>
            </a:r>
          </a:p>
          <a:p>
            <a:pPr lvl="2"/>
            <a:r>
              <a:rPr lang="en-IN" dirty="0"/>
              <a:t>Dedicated equipment or Line with CIP System</a:t>
            </a:r>
          </a:p>
          <a:p>
            <a:pPr lvl="2"/>
            <a:r>
              <a:rPr lang="en-IN" dirty="0"/>
              <a:t>No interconnections / common lines (purge / ventilation lines, utility piping (steam, compressed air etc.)</a:t>
            </a:r>
          </a:p>
          <a:p>
            <a:pPr lvl="2"/>
            <a:r>
              <a:rPr lang="en-IN" dirty="0"/>
              <a:t>Cross contamination prevention organizational measures</a:t>
            </a:r>
          </a:p>
          <a:p>
            <a:r>
              <a:rPr lang="en-IN" dirty="0"/>
              <a:t>Organizational measures </a:t>
            </a:r>
          </a:p>
          <a:p>
            <a:pPr lvl="1"/>
            <a:r>
              <a:rPr lang="en-IN" dirty="0"/>
              <a:t>Product Change Over</a:t>
            </a:r>
          </a:p>
          <a:p>
            <a:pPr lvl="2"/>
            <a:r>
              <a:rPr lang="en-IN" dirty="0"/>
              <a:t>Standard Procedures in place Clean up / Set up Start up</a:t>
            </a:r>
          </a:p>
          <a:p>
            <a:pPr lvl="2"/>
            <a:r>
              <a:rPr lang="en-IN" dirty="0"/>
              <a:t>Defined Roles and Responsibilities for approval of release and sign-off</a:t>
            </a:r>
          </a:p>
          <a:p>
            <a:pPr lvl="2"/>
            <a:r>
              <a:rPr lang="en-IN" dirty="0"/>
              <a:t>Defined up-to-date cleaning levels / cleaning matrix with (ACL) </a:t>
            </a:r>
          </a:p>
          <a:p>
            <a:pPr lvl="2"/>
            <a:r>
              <a:rPr lang="en-IN" dirty="0"/>
              <a:t>Analytical capabilities available to determine residual impurities as requested</a:t>
            </a:r>
          </a:p>
          <a:p>
            <a:pPr lvl="2"/>
            <a:r>
              <a:rPr lang="en-IN" dirty="0"/>
              <a:t>Standard Documents</a:t>
            </a:r>
          </a:p>
          <a:p>
            <a:pPr lvl="3"/>
            <a:r>
              <a:rPr lang="en-IN" dirty="0"/>
              <a:t>Equipment usage Log</a:t>
            </a:r>
          </a:p>
          <a:p>
            <a:pPr lvl="3"/>
            <a:r>
              <a:rPr lang="en-IN" dirty="0"/>
              <a:t>Equipment cleaning record</a:t>
            </a:r>
          </a:p>
          <a:p>
            <a:pPr lvl="3"/>
            <a:r>
              <a:rPr lang="en-IN" dirty="0"/>
              <a:t>Line clearance</a:t>
            </a:r>
          </a:p>
          <a:p>
            <a:endParaRPr lang="en-IN" dirty="0"/>
          </a:p>
        </p:txBody>
      </p:sp>
      <p:sp>
        <p:nvSpPr>
          <p:cNvPr id="8" name="Content Placeholder 7">
            <a:extLst>
              <a:ext uri="{FF2B5EF4-FFF2-40B4-BE49-F238E27FC236}">
                <a16:creationId xmlns:a16="http://schemas.microsoft.com/office/drawing/2014/main" id="{7E59D20F-12A4-4B2F-9405-95DEC017723E}"/>
              </a:ext>
            </a:extLst>
          </p:cNvPr>
          <p:cNvSpPr>
            <a:spLocks noGrp="1"/>
          </p:cNvSpPr>
          <p:nvPr>
            <p:ph idx="13"/>
          </p:nvPr>
        </p:nvSpPr>
        <p:spPr/>
        <p:txBody>
          <a:bodyPr>
            <a:normAutofit fontScale="77500" lnSpcReduction="20000"/>
          </a:bodyPr>
          <a:lstStyle/>
          <a:p>
            <a:r>
              <a:rPr lang="en-IN" dirty="0"/>
              <a:t>Validation Process</a:t>
            </a:r>
            <a:endParaRPr lang="en-IN" u="sng" dirty="0"/>
          </a:p>
          <a:p>
            <a:pPr lvl="1"/>
            <a:r>
              <a:rPr lang="en-IN" u="sng" dirty="0"/>
              <a:t>Equipment</a:t>
            </a:r>
          </a:p>
          <a:p>
            <a:pPr lvl="1"/>
            <a:r>
              <a:rPr lang="en-IN" u="sng" dirty="0"/>
              <a:t>Software</a:t>
            </a:r>
          </a:p>
          <a:p>
            <a:pPr lvl="1"/>
            <a:r>
              <a:rPr lang="en-IN" u="sng" dirty="0"/>
              <a:t>Process</a:t>
            </a:r>
          </a:p>
          <a:p>
            <a:r>
              <a:rPr lang="en-IN" dirty="0"/>
              <a:t>Qualification Process</a:t>
            </a:r>
          </a:p>
          <a:p>
            <a:pPr lvl="1"/>
            <a:r>
              <a:rPr lang="en-IN" dirty="0"/>
              <a:t>Design Qualification (DQ)</a:t>
            </a:r>
          </a:p>
          <a:p>
            <a:pPr lvl="1"/>
            <a:r>
              <a:rPr lang="en-IN" dirty="0"/>
              <a:t>Installation Qualification (IQ)</a:t>
            </a:r>
          </a:p>
          <a:p>
            <a:pPr lvl="1"/>
            <a:r>
              <a:rPr lang="en-IN" dirty="0"/>
              <a:t>Operational Qualification (OQ)</a:t>
            </a:r>
          </a:p>
          <a:p>
            <a:pPr lvl="1"/>
            <a:r>
              <a:rPr lang="en-IN" dirty="0"/>
              <a:t>Performance Qualification (PQ)</a:t>
            </a:r>
          </a:p>
          <a:p>
            <a:r>
              <a:rPr lang="en-IN" dirty="0"/>
              <a:t>Documentation</a:t>
            </a:r>
          </a:p>
          <a:p>
            <a:r>
              <a:rPr lang="en-IN" dirty="0"/>
              <a:t>System</a:t>
            </a:r>
          </a:p>
          <a:p>
            <a:pPr lvl="1"/>
            <a:r>
              <a:rPr lang="en-IN" dirty="0"/>
              <a:t>Established System  to monitor and record “Quality” for all aspects of Good manufacturing practices (GMP) and other Quality System pertaining</a:t>
            </a:r>
          </a:p>
          <a:p>
            <a:r>
              <a:rPr lang="en-IN" dirty="0"/>
              <a:t>Document Types</a:t>
            </a:r>
          </a:p>
          <a:p>
            <a:pPr lvl="1"/>
            <a:r>
              <a:rPr lang="en-IN" dirty="0"/>
              <a:t>Standard operating procedures</a:t>
            </a:r>
          </a:p>
          <a:p>
            <a:pPr lvl="1"/>
            <a:r>
              <a:rPr lang="en-IN" dirty="0"/>
              <a:t>Protocols</a:t>
            </a:r>
          </a:p>
          <a:p>
            <a:pPr lvl="1"/>
            <a:r>
              <a:rPr lang="en-IN" dirty="0"/>
              <a:t>Specification and method of analysis</a:t>
            </a:r>
          </a:p>
          <a:p>
            <a:pPr lvl="1"/>
            <a:r>
              <a:rPr lang="en-IN" dirty="0"/>
              <a:t>Record </a:t>
            </a:r>
          </a:p>
        </p:txBody>
      </p:sp>
      <p:sp>
        <p:nvSpPr>
          <p:cNvPr id="4" name="Date Placeholder 3">
            <a:extLst>
              <a:ext uri="{FF2B5EF4-FFF2-40B4-BE49-F238E27FC236}">
                <a16:creationId xmlns:a16="http://schemas.microsoft.com/office/drawing/2014/main" id="{8C9830CA-AA82-4338-818D-E34D96942269}"/>
              </a:ext>
            </a:extLst>
          </p:cNvPr>
          <p:cNvSpPr>
            <a:spLocks noGrp="1"/>
          </p:cNvSpPr>
          <p:nvPr>
            <p:ph type="dt" sz="half" idx="14"/>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6AAD007D-774B-4085-B7C8-B3D185279A96}"/>
              </a:ext>
            </a:extLst>
          </p:cNvPr>
          <p:cNvSpPr>
            <a:spLocks noGrp="1"/>
          </p:cNvSpPr>
          <p:nvPr>
            <p:ph type="ftr" sz="quarter" idx="15"/>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E8E82C66-68E5-4D4F-B944-5701BA5F4AB3}"/>
              </a:ext>
            </a:extLst>
          </p:cNvPr>
          <p:cNvSpPr>
            <a:spLocks noGrp="1"/>
          </p:cNvSpPr>
          <p:nvPr>
            <p:ph type="sldNum" sz="quarter" idx="16"/>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6</a:t>
            </a:fld>
            <a:endParaRPr lang="en-US" dirty="0">
              <a:solidFill>
                <a:srgbClr val="F79646">
                  <a:lumMod val="75000"/>
                </a:srgbClr>
              </a:solidFill>
            </a:endParaRPr>
          </a:p>
        </p:txBody>
      </p:sp>
      <p:sp>
        <p:nvSpPr>
          <p:cNvPr id="2" name="Title 1">
            <a:extLst>
              <a:ext uri="{FF2B5EF4-FFF2-40B4-BE49-F238E27FC236}">
                <a16:creationId xmlns:a16="http://schemas.microsoft.com/office/drawing/2014/main" id="{3D88FBE5-73DC-4431-97F1-2A9437C0C2E5}"/>
              </a:ext>
            </a:extLst>
          </p:cNvPr>
          <p:cNvSpPr>
            <a:spLocks noGrp="1"/>
          </p:cNvSpPr>
          <p:nvPr>
            <p:ph type="title"/>
          </p:nvPr>
        </p:nvSpPr>
        <p:spPr/>
        <p:txBody>
          <a:bodyPr/>
          <a:lstStyle/>
          <a:p>
            <a:r>
              <a:rPr lang="en-IN" dirty="0"/>
              <a:t>Quality INVENTYS Standards</a:t>
            </a:r>
          </a:p>
        </p:txBody>
      </p:sp>
      <p:pic>
        <p:nvPicPr>
          <p:cNvPr id="9" name="Grafik 6">
            <a:extLst>
              <a:ext uri="{FF2B5EF4-FFF2-40B4-BE49-F238E27FC236}">
                <a16:creationId xmlns:a16="http://schemas.microsoft.com/office/drawing/2014/main" id="{DF2EDDEE-9A63-4028-8A2C-793D1DE1026E}"/>
              </a:ext>
            </a:extLst>
          </p:cNvPr>
          <p:cNvPicPr>
            <a:picLocks noChangeAspect="1"/>
          </p:cNvPicPr>
          <p:nvPr/>
        </p:nvPicPr>
        <p:blipFill>
          <a:blip r:embed="rId2"/>
          <a:stretch>
            <a:fillRect/>
          </a:stretch>
        </p:blipFill>
        <p:spPr>
          <a:xfrm>
            <a:off x="711976" y="2341629"/>
            <a:ext cx="467591" cy="313048"/>
          </a:xfrm>
          <a:prstGeom prst="rect">
            <a:avLst/>
          </a:prstGeom>
        </p:spPr>
      </p:pic>
      <p:pic>
        <p:nvPicPr>
          <p:cNvPr id="10" name="Grafik 7">
            <a:extLst>
              <a:ext uri="{FF2B5EF4-FFF2-40B4-BE49-F238E27FC236}">
                <a16:creationId xmlns:a16="http://schemas.microsoft.com/office/drawing/2014/main" id="{9387FCB1-B43C-4905-BDE3-F1EE89084043}"/>
              </a:ext>
            </a:extLst>
          </p:cNvPr>
          <p:cNvPicPr>
            <a:picLocks noChangeAspect="1"/>
          </p:cNvPicPr>
          <p:nvPr/>
        </p:nvPicPr>
        <p:blipFill>
          <a:blip r:embed="rId2"/>
          <a:stretch>
            <a:fillRect/>
          </a:stretch>
        </p:blipFill>
        <p:spPr>
          <a:xfrm>
            <a:off x="711975" y="1543372"/>
            <a:ext cx="467591" cy="313048"/>
          </a:xfrm>
          <a:prstGeom prst="rect">
            <a:avLst/>
          </a:prstGeom>
          <a:noFill/>
          <a:ln>
            <a:noFill/>
          </a:ln>
        </p:spPr>
      </p:pic>
      <p:pic>
        <p:nvPicPr>
          <p:cNvPr id="17" name="Grafik 6">
            <a:extLst>
              <a:ext uri="{FF2B5EF4-FFF2-40B4-BE49-F238E27FC236}">
                <a16:creationId xmlns:a16="http://schemas.microsoft.com/office/drawing/2014/main" id="{E2C66A62-5193-4ABA-8CFD-939C9BBC70D9}"/>
              </a:ext>
            </a:extLst>
          </p:cNvPr>
          <p:cNvPicPr>
            <a:picLocks noChangeAspect="1"/>
          </p:cNvPicPr>
          <p:nvPr/>
        </p:nvPicPr>
        <p:blipFill>
          <a:blip r:embed="rId3"/>
          <a:stretch>
            <a:fillRect/>
          </a:stretch>
        </p:blipFill>
        <p:spPr>
          <a:xfrm>
            <a:off x="732666" y="4495800"/>
            <a:ext cx="322831" cy="319697"/>
          </a:xfrm>
          <a:prstGeom prst="rect">
            <a:avLst/>
          </a:prstGeom>
        </p:spPr>
      </p:pic>
      <p:pic>
        <p:nvPicPr>
          <p:cNvPr id="18" name="Grafik 8">
            <a:extLst>
              <a:ext uri="{FF2B5EF4-FFF2-40B4-BE49-F238E27FC236}">
                <a16:creationId xmlns:a16="http://schemas.microsoft.com/office/drawing/2014/main" id="{437DFE5F-35EC-4F1F-9E74-CD0BBF4C5848}"/>
              </a:ext>
            </a:extLst>
          </p:cNvPr>
          <p:cNvPicPr>
            <a:picLocks noChangeAspect="1"/>
          </p:cNvPicPr>
          <p:nvPr/>
        </p:nvPicPr>
        <p:blipFill>
          <a:blip r:embed="rId4"/>
          <a:stretch>
            <a:fillRect/>
          </a:stretch>
        </p:blipFill>
        <p:spPr>
          <a:xfrm>
            <a:off x="817570" y="3657600"/>
            <a:ext cx="256400" cy="300042"/>
          </a:xfrm>
          <a:prstGeom prst="rect">
            <a:avLst/>
          </a:prstGeom>
        </p:spPr>
      </p:pic>
      <p:pic>
        <p:nvPicPr>
          <p:cNvPr id="19" name="Grafik 9">
            <a:extLst>
              <a:ext uri="{FF2B5EF4-FFF2-40B4-BE49-F238E27FC236}">
                <a16:creationId xmlns:a16="http://schemas.microsoft.com/office/drawing/2014/main" id="{BB95B223-1845-44CF-B8CC-CE02F0C58418}"/>
              </a:ext>
            </a:extLst>
          </p:cNvPr>
          <p:cNvPicPr>
            <a:picLocks noChangeAspect="1"/>
          </p:cNvPicPr>
          <p:nvPr/>
        </p:nvPicPr>
        <p:blipFill>
          <a:blip r:embed="rId5"/>
          <a:stretch>
            <a:fillRect/>
          </a:stretch>
        </p:blipFill>
        <p:spPr>
          <a:xfrm>
            <a:off x="791439" y="5257800"/>
            <a:ext cx="233661" cy="300042"/>
          </a:xfrm>
          <a:prstGeom prst="rect">
            <a:avLst/>
          </a:prstGeom>
        </p:spPr>
      </p:pic>
      <p:pic>
        <p:nvPicPr>
          <p:cNvPr id="20" name="Grafik 7">
            <a:extLst>
              <a:ext uri="{FF2B5EF4-FFF2-40B4-BE49-F238E27FC236}">
                <a16:creationId xmlns:a16="http://schemas.microsoft.com/office/drawing/2014/main" id="{49306DF1-9EAB-4527-9228-B414F56E4998}"/>
              </a:ext>
            </a:extLst>
          </p:cNvPr>
          <p:cNvPicPr>
            <a:picLocks noChangeAspect="1"/>
          </p:cNvPicPr>
          <p:nvPr/>
        </p:nvPicPr>
        <p:blipFill>
          <a:blip r:embed="rId6"/>
          <a:stretch>
            <a:fillRect/>
          </a:stretch>
        </p:blipFill>
        <p:spPr>
          <a:xfrm>
            <a:off x="8950158" y="1149243"/>
            <a:ext cx="117642" cy="152399"/>
          </a:xfrm>
          <a:prstGeom prst="rect">
            <a:avLst/>
          </a:prstGeom>
        </p:spPr>
      </p:pic>
      <p:pic>
        <p:nvPicPr>
          <p:cNvPr id="21" name="Grafik 7">
            <a:extLst>
              <a:ext uri="{FF2B5EF4-FFF2-40B4-BE49-F238E27FC236}">
                <a16:creationId xmlns:a16="http://schemas.microsoft.com/office/drawing/2014/main" id="{9399281E-C7B5-4036-9B8F-95E79577AF81}"/>
              </a:ext>
            </a:extLst>
          </p:cNvPr>
          <p:cNvPicPr>
            <a:picLocks noChangeAspect="1"/>
          </p:cNvPicPr>
          <p:nvPr/>
        </p:nvPicPr>
        <p:blipFill>
          <a:blip r:embed="rId6"/>
          <a:stretch>
            <a:fillRect/>
          </a:stretch>
        </p:blipFill>
        <p:spPr>
          <a:xfrm>
            <a:off x="8950158" y="1390973"/>
            <a:ext cx="117642" cy="152399"/>
          </a:xfrm>
          <a:prstGeom prst="rect">
            <a:avLst/>
          </a:prstGeom>
        </p:spPr>
      </p:pic>
      <p:pic>
        <p:nvPicPr>
          <p:cNvPr id="22" name="Grafik 7">
            <a:extLst>
              <a:ext uri="{FF2B5EF4-FFF2-40B4-BE49-F238E27FC236}">
                <a16:creationId xmlns:a16="http://schemas.microsoft.com/office/drawing/2014/main" id="{B62EE48D-354B-4CBB-A4E9-BADEB6D511B4}"/>
              </a:ext>
            </a:extLst>
          </p:cNvPr>
          <p:cNvPicPr>
            <a:picLocks noChangeAspect="1"/>
          </p:cNvPicPr>
          <p:nvPr/>
        </p:nvPicPr>
        <p:blipFill>
          <a:blip r:embed="rId6"/>
          <a:stretch>
            <a:fillRect/>
          </a:stretch>
        </p:blipFill>
        <p:spPr>
          <a:xfrm>
            <a:off x="8950158" y="1600200"/>
            <a:ext cx="117642" cy="152399"/>
          </a:xfrm>
          <a:prstGeom prst="rect">
            <a:avLst/>
          </a:prstGeom>
        </p:spPr>
      </p:pic>
      <p:pic>
        <p:nvPicPr>
          <p:cNvPr id="23" name="Grafik 7">
            <a:extLst>
              <a:ext uri="{FF2B5EF4-FFF2-40B4-BE49-F238E27FC236}">
                <a16:creationId xmlns:a16="http://schemas.microsoft.com/office/drawing/2014/main" id="{8A49E352-3AC7-4B30-BC44-2BD94BD79564}"/>
              </a:ext>
            </a:extLst>
          </p:cNvPr>
          <p:cNvPicPr>
            <a:picLocks noChangeAspect="1"/>
          </p:cNvPicPr>
          <p:nvPr/>
        </p:nvPicPr>
        <p:blipFill>
          <a:blip r:embed="rId6"/>
          <a:stretch>
            <a:fillRect/>
          </a:stretch>
        </p:blipFill>
        <p:spPr>
          <a:xfrm>
            <a:off x="8915400" y="2133600"/>
            <a:ext cx="117642" cy="152399"/>
          </a:xfrm>
          <a:prstGeom prst="rect">
            <a:avLst/>
          </a:prstGeom>
        </p:spPr>
      </p:pic>
      <p:pic>
        <p:nvPicPr>
          <p:cNvPr id="24" name="Grafik 7">
            <a:extLst>
              <a:ext uri="{FF2B5EF4-FFF2-40B4-BE49-F238E27FC236}">
                <a16:creationId xmlns:a16="http://schemas.microsoft.com/office/drawing/2014/main" id="{41A0C1DD-5036-4898-9561-153E395236CA}"/>
              </a:ext>
            </a:extLst>
          </p:cNvPr>
          <p:cNvPicPr>
            <a:picLocks noChangeAspect="1"/>
          </p:cNvPicPr>
          <p:nvPr/>
        </p:nvPicPr>
        <p:blipFill>
          <a:blip r:embed="rId6"/>
          <a:stretch>
            <a:fillRect/>
          </a:stretch>
        </p:blipFill>
        <p:spPr>
          <a:xfrm>
            <a:off x="8915400" y="2362200"/>
            <a:ext cx="117642" cy="152399"/>
          </a:xfrm>
          <a:prstGeom prst="rect">
            <a:avLst/>
          </a:prstGeom>
        </p:spPr>
      </p:pic>
      <p:pic>
        <p:nvPicPr>
          <p:cNvPr id="25" name="Grafik 7">
            <a:extLst>
              <a:ext uri="{FF2B5EF4-FFF2-40B4-BE49-F238E27FC236}">
                <a16:creationId xmlns:a16="http://schemas.microsoft.com/office/drawing/2014/main" id="{85C539D5-4739-4F83-8717-3712F658C5FB}"/>
              </a:ext>
            </a:extLst>
          </p:cNvPr>
          <p:cNvPicPr>
            <a:picLocks noChangeAspect="1"/>
          </p:cNvPicPr>
          <p:nvPr/>
        </p:nvPicPr>
        <p:blipFill>
          <a:blip r:embed="rId6"/>
          <a:stretch>
            <a:fillRect/>
          </a:stretch>
        </p:blipFill>
        <p:spPr>
          <a:xfrm>
            <a:off x="8915400" y="2667001"/>
            <a:ext cx="117642" cy="152399"/>
          </a:xfrm>
          <a:prstGeom prst="rect">
            <a:avLst/>
          </a:prstGeom>
        </p:spPr>
      </p:pic>
      <p:pic>
        <p:nvPicPr>
          <p:cNvPr id="26" name="Grafik 7">
            <a:extLst>
              <a:ext uri="{FF2B5EF4-FFF2-40B4-BE49-F238E27FC236}">
                <a16:creationId xmlns:a16="http://schemas.microsoft.com/office/drawing/2014/main" id="{4A0B2864-A1B6-49F4-9468-CDBA6AB4CF90}"/>
              </a:ext>
            </a:extLst>
          </p:cNvPr>
          <p:cNvPicPr>
            <a:picLocks noChangeAspect="1"/>
          </p:cNvPicPr>
          <p:nvPr/>
        </p:nvPicPr>
        <p:blipFill>
          <a:blip r:embed="rId6"/>
          <a:stretch>
            <a:fillRect/>
          </a:stretch>
        </p:blipFill>
        <p:spPr>
          <a:xfrm>
            <a:off x="8915400" y="2895600"/>
            <a:ext cx="117642" cy="152399"/>
          </a:xfrm>
          <a:prstGeom prst="rect">
            <a:avLst/>
          </a:prstGeom>
        </p:spPr>
      </p:pic>
      <p:pic>
        <p:nvPicPr>
          <p:cNvPr id="27" name="Grafik 6">
            <a:extLst>
              <a:ext uri="{FF2B5EF4-FFF2-40B4-BE49-F238E27FC236}">
                <a16:creationId xmlns:a16="http://schemas.microsoft.com/office/drawing/2014/main" id="{FF2CC331-F28D-4CF5-AF7F-A4D25A626EAB}"/>
              </a:ext>
            </a:extLst>
          </p:cNvPr>
          <p:cNvPicPr>
            <a:picLocks noChangeAspect="1"/>
          </p:cNvPicPr>
          <p:nvPr/>
        </p:nvPicPr>
        <p:blipFill>
          <a:blip r:embed="rId7"/>
          <a:stretch>
            <a:fillRect/>
          </a:stretch>
        </p:blipFill>
        <p:spPr>
          <a:xfrm>
            <a:off x="8836669" y="5527386"/>
            <a:ext cx="233661" cy="300042"/>
          </a:xfrm>
          <a:prstGeom prst="rect">
            <a:avLst/>
          </a:prstGeom>
        </p:spPr>
      </p:pic>
    </p:spTree>
    <p:extLst>
      <p:ext uri="{BB962C8B-B14F-4D97-AF65-F5344CB8AC3E}">
        <p14:creationId xmlns:p14="http://schemas.microsoft.com/office/powerpoint/2010/main" val="141421119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49425E2-1F44-480A-829D-A4F749258705}"/>
              </a:ext>
            </a:extLst>
          </p:cNvPr>
          <p:cNvSpPr>
            <a:spLocks noGrp="1"/>
          </p:cNvSpPr>
          <p:nvPr>
            <p:ph type="title"/>
          </p:nvPr>
        </p:nvSpPr>
        <p:spPr/>
        <p:txBody>
          <a:bodyPr/>
          <a:lstStyle/>
          <a:p>
            <a:r>
              <a:rPr lang="en-IN" dirty="0"/>
              <a:t>Quality Assurance Responsibilities</a:t>
            </a:r>
          </a:p>
        </p:txBody>
      </p:sp>
      <p:sp>
        <p:nvSpPr>
          <p:cNvPr id="8" name="Content Placeholder 7">
            <a:extLst>
              <a:ext uri="{FF2B5EF4-FFF2-40B4-BE49-F238E27FC236}">
                <a16:creationId xmlns:a16="http://schemas.microsoft.com/office/drawing/2014/main" id="{E23128E2-69F8-4B0B-850C-77F49D916446}"/>
              </a:ext>
            </a:extLst>
          </p:cNvPr>
          <p:cNvSpPr>
            <a:spLocks noGrp="1"/>
          </p:cNvSpPr>
          <p:nvPr>
            <p:ph idx="1"/>
          </p:nvPr>
        </p:nvSpPr>
        <p:spPr/>
        <p:txBody>
          <a:bodyPr>
            <a:normAutofit lnSpcReduction="10000"/>
          </a:bodyPr>
          <a:lstStyle/>
          <a:p>
            <a:r>
              <a:rPr lang="en-IN" dirty="0"/>
              <a:t>QA Department is responsible to ensure QMS implementation &amp; maintenance</a:t>
            </a:r>
          </a:p>
          <a:p>
            <a:pPr lvl="1"/>
            <a:r>
              <a:rPr lang="en-IN" dirty="0"/>
              <a:t>Ensuring product quality and adherence to SOPs</a:t>
            </a:r>
          </a:p>
          <a:p>
            <a:pPr lvl="1"/>
            <a:r>
              <a:rPr lang="en-IN" dirty="0"/>
              <a:t>In process checks and record verification</a:t>
            </a:r>
          </a:p>
          <a:p>
            <a:pPr lvl="1"/>
            <a:r>
              <a:rPr lang="en-IN" dirty="0"/>
              <a:t>Supplier Qualification</a:t>
            </a:r>
          </a:p>
          <a:p>
            <a:pPr lvl="1"/>
            <a:r>
              <a:rPr lang="en-IN" dirty="0"/>
              <a:t>Internal audits and compliance</a:t>
            </a:r>
          </a:p>
          <a:p>
            <a:pPr lvl="1"/>
            <a:r>
              <a:rPr lang="en-IN" dirty="0"/>
              <a:t>Documentation Control</a:t>
            </a:r>
          </a:p>
          <a:p>
            <a:pPr lvl="1"/>
            <a:r>
              <a:rPr lang="en-IN" dirty="0"/>
              <a:t>Change Control and Deviation Management</a:t>
            </a:r>
          </a:p>
          <a:p>
            <a:pPr lvl="1"/>
            <a:r>
              <a:rPr lang="en-IN" dirty="0"/>
              <a:t>Stability Evaluation of Products.</a:t>
            </a:r>
          </a:p>
          <a:p>
            <a:pPr lvl="1"/>
            <a:r>
              <a:rPr lang="en-IN" dirty="0"/>
              <a:t>Equipment qualifications, Validations &amp; Calibrations.</a:t>
            </a:r>
          </a:p>
          <a:p>
            <a:pPr lvl="1"/>
            <a:r>
              <a:rPr lang="en-IN" dirty="0"/>
              <a:t>Batch Release.</a:t>
            </a:r>
          </a:p>
          <a:p>
            <a:pPr lvl="1"/>
            <a:r>
              <a:rPr lang="en-IN" dirty="0"/>
              <a:t>Complaint handling and CAPA implementation</a:t>
            </a:r>
          </a:p>
          <a:p>
            <a:pPr lvl="1"/>
            <a:r>
              <a:rPr lang="en-IN" dirty="0"/>
              <a:t>Review &amp; approval of out of Specification and out of Calibration</a:t>
            </a:r>
          </a:p>
          <a:p>
            <a:pPr lvl="1"/>
            <a:r>
              <a:rPr lang="en-IN" dirty="0"/>
              <a:t>Annual Product Quality Review</a:t>
            </a:r>
          </a:p>
          <a:p>
            <a:pPr lvl="1"/>
            <a:r>
              <a:rPr lang="en-IN" dirty="0"/>
              <a:t>GMP Training &amp; Implementation </a:t>
            </a:r>
          </a:p>
        </p:txBody>
      </p:sp>
      <p:sp>
        <p:nvSpPr>
          <p:cNvPr id="4" name="Date Placeholder 3">
            <a:extLst>
              <a:ext uri="{FF2B5EF4-FFF2-40B4-BE49-F238E27FC236}">
                <a16:creationId xmlns:a16="http://schemas.microsoft.com/office/drawing/2014/main" id="{E861538F-46FB-4795-A958-386A7F720EBA}"/>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49140AC9-C991-4451-9715-ACD85BD5C87B}"/>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5B4F449-43DB-4ED9-B1EF-C83298F9D3E7}"/>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7</a:t>
            </a:fld>
            <a:endParaRPr lang="en-US" dirty="0">
              <a:solidFill>
                <a:srgbClr val="F79646">
                  <a:lumMod val="75000"/>
                </a:srgbClr>
              </a:solidFill>
            </a:endParaRPr>
          </a:p>
        </p:txBody>
      </p:sp>
    </p:spTree>
    <p:extLst>
      <p:ext uri="{BB962C8B-B14F-4D97-AF65-F5344CB8AC3E}">
        <p14:creationId xmlns:p14="http://schemas.microsoft.com/office/powerpoint/2010/main" val="221605023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4B824ABC-0273-4763-A78F-2AB0A3B0EC36}"/>
              </a:ext>
            </a:extLst>
          </p:cNvPr>
          <p:cNvSpPr>
            <a:spLocks noGrp="1"/>
          </p:cNvSpPr>
          <p:nvPr>
            <p:ph idx="1"/>
          </p:nvPr>
        </p:nvSpPr>
        <p:spPr/>
        <p:txBody>
          <a:bodyPr/>
          <a:lstStyle/>
          <a:p>
            <a:r>
              <a:rPr lang="en-IN" dirty="0"/>
              <a:t>Quality Control Instruments</a:t>
            </a:r>
          </a:p>
          <a:p>
            <a:pPr lvl="1"/>
            <a:r>
              <a:rPr lang="en-IN" dirty="0"/>
              <a:t>HPLC (High Performance Liquid Chromatography)</a:t>
            </a:r>
          </a:p>
          <a:p>
            <a:pPr lvl="1"/>
            <a:r>
              <a:rPr lang="en-IN" dirty="0"/>
              <a:t>GC (Gas Chromatography)</a:t>
            </a:r>
          </a:p>
          <a:p>
            <a:pPr lvl="1"/>
            <a:r>
              <a:rPr lang="en-IN" dirty="0"/>
              <a:t>UV Spectrometer</a:t>
            </a:r>
          </a:p>
          <a:p>
            <a:pPr lvl="1"/>
            <a:r>
              <a:rPr lang="en-IN" dirty="0"/>
              <a:t>Stability Chamber</a:t>
            </a:r>
          </a:p>
          <a:p>
            <a:pPr lvl="1"/>
            <a:r>
              <a:rPr lang="en-IN" dirty="0"/>
              <a:t>IR</a:t>
            </a:r>
          </a:p>
          <a:p>
            <a:pPr lvl="1"/>
            <a:r>
              <a:rPr lang="en-IN" dirty="0"/>
              <a:t>KF Titrator </a:t>
            </a:r>
          </a:p>
          <a:p>
            <a:pPr lvl="1"/>
            <a:r>
              <a:rPr lang="en-IN" dirty="0"/>
              <a:t>Combi flash</a:t>
            </a:r>
          </a:p>
          <a:p>
            <a:endParaRPr lang="en-IN" dirty="0"/>
          </a:p>
        </p:txBody>
      </p:sp>
      <p:sp>
        <p:nvSpPr>
          <p:cNvPr id="8" name="Content Placeholder 7">
            <a:extLst>
              <a:ext uri="{FF2B5EF4-FFF2-40B4-BE49-F238E27FC236}">
                <a16:creationId xmlns:a16="http://schemas.microsoft.com/office/drawing/2014/main" id="{5BC66A63-8781-4509-90F4-27F1DBDD10D4}"/>
              </a:ext>
            </a:extLst>
          </p:cNvPr>
          <p:cNvSpPr>
            <a:spLocks noGrp="1"/>
          </p:cNvSpPr>
          <p:nvPr>
            <p:ph idx="13"/>
          </p:nvPr>
        </p:nvSpPr>
        <p:spPr/>
        <p:txBody>
          <a:bodyPr/>
          <a:lstStyle/>
          <a:p>
            <a:r>
              <a:rPr lang="en-IN" dirty="0"/>
              <a:t>Microbiology Instruments</a:t>
            </a:r>
          </a:p>
          <a:p>
            <a:pPr lvl="1"/>
            <a:r>
              <a:rPr lang="en-IN" dirty="0"/>
              <a:t>Biological Incubator</a:t>
            </a:r>
          </a:p>
          <a:p>
            <a:pPr lvl="1"/>
            <a:r>
              <a:rPr lang="en-IN" dirty="0"/>
              <a:t>Autoclave</a:t>
            </a:r>
          </a:p>
          <a:p>
            <a:pPr lvl="1"/>
            <a:r>
              <a:rPr lang="en-IN" dirty="0"/>
              <a:t>Microscope</a:t>
            </a:r>
          </a:p>
          <a:p>
            <a:pPr lvl="1"/>
            <a:r>
              <a:rPr lang="en-IN" dirty="0"/>
              <a:t>Colony counter</a:t>
            </a:r>
          </a:p>
          <a:p>
            <a:pPr lvl="1"/>
            <a:r>
              <a:rPr lang="en-IN" dirty="0"/>
              <a:t>Hot Air Oven</a:t>
            </a:r>
          </a:p>
          <a:p>
            <a:pPr lvl="1"/>
            <a:r>
              <a:rPr lang="en-IN" dirty="0"/>
              <a:t>LAF</a:t>
            </a:r>
          </a:p>
          <a:p>
            <a:r>
              <a:rPr lang="en-IN" dirty="0"/>
              <a:t>Analytical Development Lab</a:t>
            </a:r>
          </a:p>
          <a:p>
            <a:pPr lvl="1"/>
            <a:r>
              <a:rPr lang="en-IN" dirty="0"/>
              <a:t>NMR</a:t>
            </a:r>
          </a:p>
          <a:p>
            <a:pPr lvl="1"/>
            <a:r>
              <a:rPr lang="en-IN" dirty="0"/>
              <a:t>TSU</a:t>
            </a:r>
          </a:p>
          <a:p>
            <a:pPr lvl="1"/>
            <a:r>
              <a:rPr lang="en-IN" dirty="0"/>
              <a:t>etc</a:t>
            </a:r>
          </a:p>
        </p:txBody>
      </p:sp>
      <p:sp>
        <p:nvSpPr>
          <p:cNvPr id="4" name="Date Placeholder 3">
            <a:extLst>
              <a:ext uri="{FF2B5EF4-FFF2-40B4-BE49-F238E27FC236}">
                <a16:creationId xmlns:a16="http://schemas.microsoft.com/office/drawing/2014/main" id="{F424A0C2-CAF9-4BA3-9971-9B237E94426E}"/>
              </a:ext>
            </a:extLst>
          </p:cNvPr>
          <p:cNvSpPr>
            <a:spLocks noGrp="1"/>
          </p:cNvSpPr>
          <p:nvPr>
            <p:ph type="dt" sz="half" idx="14"/>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959F1A4C-916F-4C96-9AF7-B68220456BEF}"/>
              </a:ext>
            </a:extLst>
          </p:cNvPr>
          <p:cNvSpPr>
            <a:spLocks noGrp="1"/>
          </p:cNvSpPr>
          <p:nvPr>
            <p:ph type="ftr" sz="quarter" idx="15"/>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AAC2A779-3B1F-4E98-97F7-1E14489C1388}"/>
              </a:ext>
            </a:extLst>
          </p:cNvPr>
          <p:cNvSpPr>
            <a:spLocks noGrp="1"/>
          </p:cNvSpPr>
          <p:nvPr>
            <p:ph type="sldNum" sz="quarter" idx="16"/>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8</a:t>
            </a:fld>
            <a:endParaRPr lang="en-US" dirty="0">
              <a:solidFill>
                <a:srgbClr val="F79646">
                  <a:lumMod val="75000"/>
                </a:srgbClr>
              </a:solidFill>
            </a:endParaRPr>
          </a:p>
        </p:txBody>
      </p:sp>
      <p:sp>
        <p:nvSpPr>
          <p:cNvPr id="2" name="Title 1">
            <a:extLst>
              <a:ext uri="{FF2B5EF4-FFF2-40B4-BE49-F238E27FC236}">
                <a16:creationId xmlns:a16="http://schemas.microsoft.com/office/drawing/2014/main" id="{E6F2A75D-0BE0-47A2-94E5-5EC9466F543D}"/>
              </a:ext>
            </a:extLst>
          </p:cNvPr>
          <p:cNvSpPr>
            <a:spLocks noGrp="1"/>
          </p:cNvSpPr>
          <p:nvPr>
            <p:ph type="title"/>
          </p:nvPr>
        </p:nvSpPr>
        <p:spPr/>
        <p:txBody>
          <a:bodyPr/>
          <a:lstStyle/>
          <a:p>
            <a:r>
              <a:rPr lang="en-IN" dirty="0"/>
              <a:t>Quality Control &amp; ADL Infrastructure</a:t>
            </a:r>
          </a:p>
        </p:txBody>
      </p:sp>
    </p:spTree>
    <p:extLst>
      <p:ext uri="{BB962C8B-B14F-4D97-AF65-F5344CB8AC3E}">
        <p14:creationId xmlns:p14="http://schemas.microsoft.com/office/powerpoint/2010/main" val="50808937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FA36D72-F367-4F64-A417-E073481B86BE}"/>
              </a:ext>
            </a:extLst>
          </p:cNvPr>
          <p:cNvSpPr>
            <a:spLocks noGrp="1"/>
          </p:cNvSpPr>
          <p:nvPr>
            <p:ph type="title"/>
          </p:nvPr>
        </p:nvSpPr>
        <p:spPr/>
        <p:txBody>
          <a:bodyPr/>
          <a:lstStyle/>
          <a:p>
            <a:r>
              <a:rPr lang="en-IN" dirty="0"/>
              <a:t>Quality Element INVENTYS Audit process</a:t>
            </a:r>
          </a:p>
        </p:txBody>
      </p:sp>
      <p:sp>
        <p:nvSpPr>
          <p:cNvPr id="4" name="Date Placeholder 3">
            <a:extLst>
              <a:ext uri="{FF2B5EF4-FFF2-40B4-BE49-F238E27FC236}">
                <a16:creationId xmlns:a16="http://schemas.microsoft.com/office/drawing/2014/main" id="{4D710737-49F7-4641-9F34-CDF6CBEA6CA0}"/>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62C65BDE-877F-4796-A11E-303CDDD8D0DE}"/>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1E4D6DA7-2539-4C51-8ED5-F8687DB747A0}"/>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19</a:t>
            </a:fld>
            <a:endParaRPr lang="en-US" dirty="0">
              <a:solidFill>
                <a:srgbClr val="F79646">
                  <a:lumMod val="75000"/>
                </a:srgbClr>
              </a:solidFill>
            </a:endParaRPr>
          </a:p>
        </p:txBody>
      </p:sp>
      <p:sp>
        <p:nvSpPr>
          <p:cNvPr id="9" name="Rechteck 6">
            <a:extLst>
              <a:ext uri="{FF2B5EF4-FFF2-40B4-BE49-F238E27FC236}">
                <a16:creationId xmlns:a16="http://schemas.microsoft.com/office/drawing/2014/main" id="{C5BAB5CD-1632-4382-B4F7-1013D7757A65}"/>
              </a:ext>
            </a:extLst>
          </p:cNvPr>
          <p:cNvSpPr/>
          <p:nvPr/>
        </p:nvSpPr>
        <p:spPr bwMode="auto">
          <a:xfrm>
            <a:off x="2068766" y="2247911"/>
            <a:ext cx="6988690" cy="648107"/>
          </a:xfrm>
          <a:prstGeom prst="rect">
            <a:avLst/>
          </a:prstGeom>
          <a:solidFill>
            <a:schemeClr val="bg1"/>
          </a:solidFill>
          <a:ln w="28575" cap="flat" cmpd="sng" algn="ctr">
            <a:solidFill>
              <a:schemeClr val="accent2"/>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endParaRPr lang="en-US" sz="1200" b="1" dirty="0">
              <a:solidFill>
                <a:srgbClr val="627890"/>
              </a:solidFill>
            </a:endParaRPr>
          </a:p>
        </p:txBody>
      </p:sp>
      <p:sp>
        <p:nvSpPr>
          <p:cNvPr id="10" name="Eingekerbter Richtungspfeil 69">
            <a:extLst>
              <a:ext uri="{FF2B5EF4-FFF2-40B4-BE49-F238E27FC236}">
                <a16:creationId xmlns:a16="http://schemas.microsoft.com/office/drawing/2014/main" id="{14E714B5-9818-4480-8DEA-8F5B86C35A75}"/>
              </a:ext>
            </a:extLst>
          </p:cNvPr>
          <p:cNvSpPr/>
          <p:nvPr/>
        </p:nvSpPr>
        <p:spPr bwMode="auto">
          <a:xfrm>
            <a:off x="2213630"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Long term audit plan</a:t>
            </a:r>
          </a:p>
        </p:txBody>
      </p:sp>
      <p:sp>
        <p:nvSpPr>
          <p:cNvPr id="11" name="Eingekerbter Richtungspfeil 70">
            <a:extLst>
              <a:ext uri="{FF2B5EF4-FFF2-40B4-BE49-F238E27FC236}">
                <a16:creationId xmlns:a16="http://schemas.microsoft.com/office/drawing/2014/main" id="{445F8362-A7EA-4916-A91C-2775D5933620}"/>
              </a:ext>
            </a:extLst>
          </p:cNvPr>
          <p:cNvSpPr/>
          <p:nvPr/>
        </p:nvSpPr>
        <p:spPr bwMode="auto">
          <a:xfrm>
            <a:off x="3542162"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Annual audit program</a:t>
            </a:r>
          </a:p>
        </p:txBody>
      </p:sp>
      <p:sp>
        <p:nvSpPr>
          <p:cNvPr id="12" name="Eingekerbter Richtungspfeil 71">
            <a:extLst>
              <a:ext uri="{FF2B5EF4-FFF2-40B4-BE49-F238E27FC236}">
                <a16:creationId xmlns:a16="http://schemas.microsoft.com/office/drawing/2014/main" id="{AF592B80-7F4D-4B2E-93C7-EEF148686A65}"/>
              </a:ext>
            </a:extLst>
          </p:cNvPr>
          <p:cNvSpPr/>
          <p:nvPr/>
        </p:nvSpPr>
        <p:spPr bwMode="auto">
          <a:xfrm>
            <a:off x="4870695"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Approval and distribution of the audit program</a:t>
            </a:r>
          </a:p>
        </p:txBody>
      </p:sp>
      <p:sp>
        <p:nvSpPr>
          <p:cNvPr id="13" name="Eingekerbter Richtungspfeil 72">
            <a:extLst>
              <a:ext uri="{FF2B5EF4-FFF2-40B4-BE49-F238E27FC236}">
                <a16:creationId xmlns:a16="http://schemas.microsoft.com/office/drawing/2014/main" id="{2C2C193C-91CC-4E48-9134-426ECA1B0597}"/>
              </a:ext>
            </a:extLst>
          </p:cNvPr>
          <p:cNvSpPr/>
          <p:nvPr/>
        </p:nvSpPr>
        <p:spPr bwMode="auto">
          <a:xfrm>
            <a:off x="6199227"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Prepare an audit</a:t>
            </a:r>
          </a:p>
        </p:txBody>
      </p:sp>
      <p:sp>
        <p:nvSpPr>
          <p:cNvPr id="14" name="Rechteck 11">
            <a:extLst>
              <a:ext uri="{FF2B5EF4-FFF2-40B4-BE49-F238E27FC236}">
                <a16:creationId xmlns:a16="http://schemas.microsoft.com/office/drawing/2014/main" id="{8E0C6BAC-BDA6-478F-B7DC-FCF502F7DDD7}"/>
              </a:ext>
            </a:extLst>
          </p:cNvPr>
          <p:cNvSpPr/>
          <p:nvPr/>
        </p:nvSpPr>
        <p:spPr bwMode="auto">
          <a:xfrm>
            <a:off x="3074573" y="3235191"/>
            <a:ext cx="5962994" cy="648107"/>
          </a:xfrm>
          <a:prstGeom prst="rect">
            <a:avLst/>
          </a:prstGeom>
          <a:solidFill>
            <a:schemeClr val="bg1"/>
          </a:solidFill>
          <a:ln w="28575" cap="flat" cmpd="sng" algn="ctr">
            <a:solidFill>
              <a:schemeClr val="accent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rgbClr val="627890"/>
              </a:solidFill>
              <a:effectLst/>
              <a:latin typeface="Arial" charset="0"/>
            </a:endParaRPr>
          </a:p>
        </p:txBody>
      </p:sp>
      <p:sp>
        <p:nvSpPr>
          <p:cNvPr id="15" name="Eingekerbter Richtungspfeil 75">
            <a:extLst>
              <a:ext uri="{FF2B5EF4-FFF2-40B4-BE49-F238E27FC236}">
                <a16:creationId xmlns:a16="http://schemas.microsoft.com/office/drawing/2014/main" id="{37DCC631-D2F2-4434-9736-0DAFD68A2BE5}"/>
              </a:ext>
            </a:extLst>
          </p:cNvPr>
          <p:cNvSpPr/>
          <p:nvPr/>
        </p:nvSpPr>
        <p:spPr bwMode="auto">
          <a:xfrm>
            <a:off x="3208180" y="3294169"/>
            <a:ext cx="1232408" cy="530211"/>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Conduct audit opening meeting</a:t>
            </a:r>
          </a:p>
        </p:txBody>
      </p:sp>
      <p:sp>
        <p:nvSpPr>
          <p:cNvPr id="16" name="Eingekerbter Richtungspfeil 76">
            <a:extLst>
              <a:ext uri="{FF2B5EF4-FFF2-40B4-BE49-F238E27FC236}">
                <a16:creationId xmlns:a16="http://schemas.microsoft.com/office/drawing/2014/main" id="{36093863-1569-498F-844D-EB68188E942E}"/>
              </a:ext>
            </a:extLst>
          </p:cNvPr>
          <p:cNvSpPr/>
          <p:nvPr/>
        </p:nvSpPr>
        <p:spPr bwMode="auto">
          <a:xfrm>
            <a:off x="4348284" y="3294169"/>
            <a:ext cx="1232408" cy="530211"/>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Review existing documents</a:t>
            </a:r>
          </a:p>
        </p:txBody>
      </p:sp>
      <p:sp>
        <p:nvSpPr>
          <p:cNvPr id="17" name="Eingekerbter Richtungspfeil 77">
            <a:extLst>
              <a:ext uri="{FF2B5EF4-FFF2-40B4-BE49-F238E27FC236}">
                <a16:creationId xmlns:a16="http://schemas.microsoft.com/office/drawing/2014/main" id="{B1DD1276-5030-4E79-A96B-7B9D089B529B}"/>
              </a:ext>
            </a:extLst>
          </p:cNvPr>
          <p:cNvSpPr/>
          <p:nvPr/>
        </p:nvSpPr>
        <p:spPr bwMode="auto">
          <a:xfrm>
            <a:off x="5488388" y="3294169"/>
            <a:ext cx="1232408" cy="530211"/>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Conduct audit</a:t>
            </a:r>
          </a:p>
        </p:txBody>
      </p:sp>
      <p:sp>
        <p:nvSpPr>
          <p:cNvPr id="18" name="Eingekerbter Richtungspfeil 78">
            <a:extLst>
              <a:ext uri="{FF2B5EF4-FFF2-40B4-BE49-F238E27FC236}">
                <a16:creationId xmlns:a16="http://schemas.microsoft.com/office/drawing/2014/main" id="{FA1F80D4-BC12-460F-96BF-03253E830536}"/>
              </a:ext>
            </a:extLst>
          </p:cNvPr>
          <p:cNvSpPr/>
          <p:nvPr/>
        </p:nvSpPr>
        <p:spPr bwMode="auto">
          <a:xfrm>
            <a:off x="6628492" y="3294169"/>
            <a:ext cx="1232408" cy="530211"/>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Determine audit results</a:t>
            </a:r>
          </a:p>
        </p:txBody>
      </p:sp>
      <p:sp>
        <p:nvSpPr>
          <p:cNvPr id="19" name="Eingekerbter Richtungspfeil 79">
            <a:extLst>
              <a:ext uri="{FF2B5EF4-FFF2-40B4-BE49-F238E27FC236}">
                <a16:creationId xmlns:a16="http://schemas.microsoft.com/office/drawing/2014/main" id="{A795F597-2191-4882-9E6C-D00DC02F5210}"/>
              </a:ext>
            </a:extLst>
          </p:cNvPr>
          <p:cNvSpPr/>
          <p:nvPr/>
        </p:nvSpPr>
        <p:spPr bwMode="auto">
          <a:xfrm>
            <a:off x="7768596" y="3294169"/>
            <a:ext cx="1232408" cy="530211"/>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Audit reporting and communication</a:t>
            </a:r>
          </a:p>
        </p:txBody>
      </p:sp>
      <p:sp>
        <p:nvSpPr>
          <p:cNvPr id="20" name="Rechteck 17">
            <a:extLst>
              <a:ext uri="{FF2B5EF4-FFF2-40B4-BE49-F238E27FC236}">
                <a16:creationId xmlns:a16="http://schemas.microsoft.com/office/drawing/2014/main" id="{92FCE783-3BA9-4DDF-AEC5-18BB887DB5C1}"/>
              </a:ext>
            </a:extLst>
          </p:cNvPr>
          <p:cNvSpPr/>
          <p:nvPr/>
        </p:nvSpPr>
        <p:spPr bwMode="auto">
          <a:xfrm>
            <a:off x="4067353" y="4221053"/>
            <a:ext cx="4979690" cy="648107"/>
          </a:xfrm>
          <a:prstGeom prst="rect">
            <a:avLst/>
          </a:prstGeom>
          <a:solidFill>
            <a:schemeClr val="bg1"/>
          </a:solidFill>
          <a:ln w="28575" cap="flat" cmpd="sng" algn="ctr">
            <a:solidFill>
              <a:schemeClr val="accent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rgbClr val="627890"/>
              </a:solidFill>
              <a:effectLst/>
              <a:latin typeface="Arial" charset="0"/>
            </a:endParaRPr>
          </a:p>
        </p:txBody>
      </p:sp>
      <p:sp>
        <p:nvSpPr>
          <p:cNvPr id="21" name="Eingekerbter Richtungspfeil 82">
            <a:extLst>
              <a:ext uri="{FF2B5EF4-FFF2-40B4-BE49-F238E27FC236}">
                <a16:creationId xmlns:a16="http://schemas.microsoft.com/office/drawing/2014/main" id="{863CC364-9394-4E9E-9D08-0600BF8A7754}"/>
              </a:ext>
            </a:extLst>
          </p:cNvPr>
          <p:cNvSpPr/>
          <p:nvPr/>
        </p:nvSpPr>
        <p:spPr bwMode="auto">
          <a:xfrm>
            <a:off x="4232454" y="4288495"/>
            <a:ext cx="1260000"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Track actions</a:t>
            </a:r>
          </a:p>
        </p:txBody>
      </p:sp>
      <p:sp>
        <p:nvSpPr>
          <p:cNvPr id="22" name="Eingekerbter Richtungspfeil 83">
            <a:extLst>
              <a:ext uri="{FF2B5EF4-FFF2-40B4-BE49-F238E27FC236}">
                <a16:creationId xmlns:a16="http://schemas.microsoft.com/office/drawing/2014/main" id="{9CD02068-552B-422E-A1C0-C234E8DF8514}"/>
              </a:ext>
            </a:extLst>
          </p:cNvPr>
          <p:cNvSpPr/>
          <p:nvPr/>
        </p:nvSpPr>
        <p:spPr bwMode="auto">
          <a:xfrm>
            <a:off x="5410433" y="4288495"/>
            <a:ext cx="1260000"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Plan audit </a:t>
            </a:r>
          </a:p>
          <a:p>
            <a:pPr algn="ctr"/>
            <a:r>
              <a:rPr lang="en-US" sz="1200" dirty="0">
                <a:solidFill>
                  <a:srgbClr val="627890"/>
                </a:solidFill>
              </a:rPr>
              <a:t>review</a:t>
            </a:r>
          </a:p>
        </p:txBody>
      </p:sp>
      <p:sp>
        <p:nvSpPr>
          <p:cNvPr id="23" name="Eingekerbter Richtungspfeil 84">
            <a:extLst>
              <a:ext uri="{FF2B5EF4-FFF2-40B4-BE49-F238E27FC236}">
                <a16:creationId xmlns:a16="http://schemas.microsoft.com/office/drawing/2014/main" id="{8B4CF069-B024-4BA4-BCE4-869A438C0363}"/>
              </a:ext>
            </a:extLst>
          </p:cNvPr>
          <p:cNvSpPr/>
          <p:nvPr/>
        </p:nvSpPr>
        <p:spPr bwMode="auto">
          <a:xfrm>
            <a:off x="416370" y="1998800"/>
            <a:ext cx="1724048" cy="706499"/>
          </a:xfrm>
          <a:prstGeom prst="chevron">
            <a:avLst>
              <a:gd name="adj" fmla="val 14700"/>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a:solidFill>
                  <a:schemeClr val="bg1"/>
                </a:solidFill>
              </a:rPr>
              <a:t>Audit planning</a:t>
            </a:r>
            <a:endParaRPr kumimoji="0" lang="en-US" sz="1400" b="1" i="0" u="none" strike="noStrike" cap="none" normalizeH="0" baseline="0" dirty="0">
              <a:ln>
                <a:noFill/>
              </a:ln>
              <a:solidFill>
                <a:schemeClr val="bg1"/>
              </a:solidFill>
              <a:effectLst/>
            </a:endParaRPr>
          </a:p>
        </p:txBody>
      </p:sp>
      <p:sp>
        <p:nvSpPr>
          <p:cNvPr id="24" name="Eingekerbter Richtungspfeil 85">
            <a:extLst>
              <a:ext uri="{FF2B5EF4-FFF2-40B4-BE49-F238E27FC236}">
                <a16:creationId xmlns:a16="http://schemas.microsoft.com/office/drawing/2014/main" id="{98DF7EB5-0521-4922-BD99-B26CE345C887}"/>
              </a:ext>
            </a:extLst>
          </p:cNvPr>
          <p:cNvSpPr/>
          <p:nvPr/>
        </p:nvSpPr>
        <p:spPr bwMode="auto">
          <a:xfrm>
            <a:off x="1422176" y="2994751"/>
            <a:ext cx="1724048" cy="706499"/>
          </a:xfrm>
          <a:prstGeom prst="chevron">
            <a:avLst>
              <a:gd name="adj" fmla="val 14700"/>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a:solidFill>
                  <a:schemeClr val="bg1"/>
                </a:solidFill>
              </a:rPr>
              <a:t>Audit conduction</a:t>
            </a:r>
            <a:endParaRPr kumimoji="0" lang="en-US" sz="1400" b="1" i="0" u="none" strike="noStrike" cap="none" normalizeH="0" baseline="0" dirty="0">
              <a:ln>
                <a:noFill/>
              </a:ln>
              <a:solidFill>
                <a:schemeClr val="bg1"/>
              </a:solidFill>
              <a:effectLst/>
            </a:endParaRPr>
          </a:p>
        </p:txBody>
      </p:sp>
      <p:sp>
        <p:nvSpPr>
          <p:cNvPr id="25" name="Eingekerbter Richtungspfeil 86">
            <a:extLst>
              <a:ext uri="{FF2B5EF4-FFF2-40B4-BE49-F238E27FC236}">
                <a16:creationId xmlns:a16="http://schemas.microsoft.com/office/drawing/2014/main" id="{D5B310B3-6AE8-496C-B4A8-D4F1CF11B8B1}"/>
              </a:ext>
            </a:extLst>
          </p:cNvPr>
          <p:cNvSpPr/>
          <p:nvPr/>
        </p:nvSpPr>
        <p:spPr bwMode="auto">
          <a:xfrm>
            <a:off x="2420417" y="3985392"/>
            <a:ext cx="1724048" cy="706499"/>
          </a:xfrm>
          <a:prstGeom prst="chevron">
            <a:avLst>
              <a:gd name="adj" fmla="val 14700"/>
            </a:avLst>
          </a:prstGeom>
          <a:solidFill>
            <a:schemeClr val="accent2"/>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a:solidFill>
                  <a:schemeClr val="bg1"/>
                </a:solidFill>
              </a:rPr>
              <a:t>Action item tracking</a:t>
            </a:r>
            <a:endParaRPr kumimoji="0" lang="en-US" sz="1400" b="1" i="0" u="none" strike="noStrike" cap="none" normalizeH="0" baseline="0" dirty="0">
              <a:ln>
                <a:noFill/>
              </a:ln>
              <a:solidFill>
                <a:schemeClr val="bg1"/>
              </a:solidFill>
              <a:effectLst/>
            </a:endParaRPr>
          </a:p>
        </p:txBody>
      </p:sp>
      <p:sp>
        <p:nvSpPr>
          <p:cNvPr id="26" name="Eingekerbter Richtungspfeil 87">
            <a:extLst>
              <a:ext uri="{FF2B5EF4-FFF2-40B4-BE49-F238E27FC236}">
                <a16:creationId xmlns:a16="http://schemas.microsoft.com/office/drawing/2014/main" id="{81A364B5-F030-44BD-8730-E5E36142167D}"/>
              </a:ext>
            </a:extLst>
          </p:cNvPr>
          <p:cNvSpPr/>
          <p:nvPr/>
        </p:nvSpPr>
        <p:spPr bwMode="auto">
          <a:xfrm>
            <a:off x="6588412" y="4288495"/>
            <a:ext cx="1260000"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Update annual audit plan</a:t>
            </a:r>
          </a:p>
        </p:txBody>
      </p:sp>
      <p:sp>
        <p:nvSpPr>
          <p:cNvPr id="27" name="Eingekerbter Richtungspfeil 88">
            <a:extLst>
              <a:ext uri="{FF2B5EF4-FFF2-40B4-BE49-F238E27FC236}">
                <a16:creationId xmlns:a16="http://schemas.microsoft.com/office/drawing/2014/main" id="{CF273D95-03EA-4102-9CB2-FB91FE163CBA}"/>
              </a:ext>
            </a:extLst>
          </p:cNvPr>
          <p:cNvSpPr/>
          <p:nvPr/>
        </p:nvSpPr>
        <p:spPr bwMode="auto">
          <a:xfrm>
            <a:off x="7766391" y="4288495"/>
            <a:ext cx="1260000"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Update detail audit plan </a:t>
            </a:r>
          </a:p>
        </p:txBody>
      </p:sp>
      <p:sp>
        <p:nvSpPr>
          <p:cNvPr id="28" name="Eingekerbter Richtungspfeil 24">
            <a:extLst>
              <a:ext uri="{FF2B5EF4-FFF2-40B4-BE49-F238E27FC236}">
                <a16:creationId xmlns:a16="http://schemas.microsoft.com/office/drawing/2014/main" id="{CD8130AF-D702-48C4-AF67-DF087552CF3C}"/>
              </a:ext>
            </a:extLst>
          </p:cNvPr>
          <p:cNvSpPr/>
          <p:nvPr/>
        </p:nvSpPr>
        <p:spPr bwMode="auto">
          <a:xfrm>
            <a:off x="4885028"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Detail audit program</a:t>
            </a:r>
          </a:p>
        </p:txBody>
      </p:sp>
      <p:sp>
        <p:nvSpPr>
          <p:cNvPr id="29" name="Eingekerbter Richtungspfeil 25">
            <a:extLst>
              <a:ext uri="{FF2B5EF4-FFF2-40B4-BE49-F238E27FC236}">
                <a16:creationId xmlns:a16="http://schemas.microsoft.com/office/drawing/2014/main" id="{4D271823-7068-4A15-A97F-142F3E28D29F}"/>
              </a:ext>
            </a:extLst>
          </p:cNvPr>
          <p:cNvSpPr/>
          <p:nvPr/>
        </p:nvSpPr>
        <p:spPr bwMode="auto">
          <a:xfrm>
            <a:off x="6213561"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Approval and distribution of the audit program</a:t>
            </a:r>
          </a:p>
        </p:txBody>
      </p:sp>
      <p:sp>
        <p:nvSpPr>
          <p:cNvPr id="30" name="Eingekerbter Richtungspfeil 26">
            <a:extLst>
              <a:ext uri="{FF2B5EF4-FFF2-40B4-BE49-F238E27FC236}">
                <a16:creationId xmlns:a16="http://schemas.microsoft.com/office/drawing/2014/main" id="{C5678175-8205-411F-B417-E0FC3B573F40}"/>
              </a:ext>
            </a:extLst>
          </p:cNvPr>
          <p:cNvSpPr/>
          <p:nvPr/>
        </p:nvSpPr>
        <p:spPr bwMode="auto">
          <a:xfrm>
            <a:off x="7542093" y="2306421"/>
            <a:ext cx="1446873" cy="530210"/>
          </a:xfrm>
          <a:prstGeom prst="chevron">
            <a:avLst>
              <a:gd name="adj" fmla="val 14700"/>
            </a:avLst>
          </a:prstGeom>
          <a:solidFill>
            <a:srgbClr val="FFFFFF"/>
          </a:solidFill>
          <a:ln w="9525" cap="flat" cmpd="sng" algn="ctr">
            <a:solidFill>
              <a:schemeClr val="accent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en-US" sz="1200" dirty="0">
                <a:solidFill>
                  <a:srgbClr val="627890"/>
                </a:solidFill>
              </a:rPr>
              <a:t>Prepare audit</a:t>
            </a:r>
          </a:p>
        </p:txBody>
      </p:sp>
    </p:spTree>
    <p:extLst>
      <p:ext uri="{BB962C8B-B14F-4D97-AF65-F5344CB8AC3E}">
        <p14:creationId xmlns:p14="http://schemas.microsoft.com/office/powerpoint/2010/main" val="122426013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758FC55-4922-4832-975E-7BBABC305C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000" y="762000"/>
            <a:ext cx="711113" cy="603025"/>
          </a:xfrm>
          <a:prstGeom prst="rect">
            <a:avLst/>
          </a:prstGeom>
        </p:spPr>
      </p:pic>
      <p:sp>
        <p:nvSpPr>
          <p:cNvPr id="9" name="Content Placeholder 8">
            <a:extLst>
              <a:ext uri="{FF2B5EF4-FFF2-40B4-BE49-F238E27FC236}">
                <a16:creationId xmlns:a16="http://schemas.microsoft.com/office/drawing/2014/main" id="{4E1F4710-1F78-477C-8696-782E54A428F9}"/>
              </a:ext>
            </a:extLst>
          </p:cNvPr>
          <p:cNvSpPr>
            <a:spLocks noGrp="1"/>
          </p:cNvSpPr>
          <p:nvPr>
            <p:ph idx="13"/>
          </p:nvPr>
        </p:nvSpPr>
        <p:spPr>
          <a:xfrm>
            <a:off x="4953000" y="2667000"/>
            <a:ext cx="4495800" cy="3581400"/>
          </a:xfrm>
        </p:spPr>
        <p:txBody>
          <a:bodyPr>
            <a:normAutofit fontScale="85000" lnSpcReduction="10000"/>
          </a:bodyPr>
          <a:lstStyle/>
          <a:p>
            <a:r>
              <a:rPr lang="en-IN" dirty="0"/>
              <a:t>Inventys is committed to achieve customer satisfaction and meet changing expectations through:</a:t>
            </a:r>
          </a:p>
          <a:p>
            <a:pPr lvl="1"/>
            <a:r>
              <a:rPr lang="en-IN" dirty="0"/>
              <a:t>Health &amp; Safety</a:t>
            </a:r>
          </a:p>
          <a:p>
            <a:pPr lvl="1"/>
            <a:r>
              <a:rPr lang="en-IN" dirty="0"/>
              <a:t>Continual quality improvement</a:t>
            </a:r>
          </a:p>
          <a:p>
            <a:pPr lvl="1"/>
            <a:r>
              <a:rPr lang="en-IN" dirty="0"/>
              <a:t>Adhere up to GMP requirements</a:t>
            </a:r>
          </a:p>
          <a:p>
            <a:pPr lvl="1"/>
            <a:r>
              <a:rPr lang="en-IN" dirty="0"/>
              <a:t>Meeting the national and international regulatory requirements</a:t>
            </a:r>
          </a:p>
          <a:p>
            <a:pPr lvl="1"/>
            <a:r>
              <a:rPr lang="en-IN" dirty="0"/>
              <a:t>Qualified and fast response to the customers and authorities</a:t>
            </a:r>
          </a:p>
          <a:p>
            <a:endParaRPr lang="en-IN" dirty="0"/>
          </a:p>
        </p:txBody>
      </p:sp>
      <p:sp>
        <p:nvSpPr>
          <p:cNvPr id="4" name="Date Placeholder 3">
            <a:extLst>
              <a:ext uri="{FF2B5EF4-FFF2-40B4-BE49-F238E27FC236}">
                <a16:creationId xmlns:a16="http://schemas.microsoft.com/office/drawing/2014/main" id="{551DF1B7-C48F-400B-B9BF-103A4ABABFCF}"/>
              </a:ext>
            </a:extLst>
          </p:cNvPr>
          <p:cNvSpPr>
            <a:spLocks noGrp="1"/>
          </p:cNvSpPr>
          <p:nvPr>
            <p:ph type="dt" sz="half" idx="14"/>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96CC1B69-5FD8-486C-9DA7-C71E4A3A67FF}"/>
              </a:ext>
            </a:extLst>
          </p:cNvPr>
          <p:cNvSpPr>
            <a:spLocks noGrp="1"/>
          </p:cNvSpPr>
          <p:nvPr>
            <p:ph type="ftr" sz="quarter" idx="15"/>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4D7EF23F-8A66-45E5-AE93-7F1AEA51DC26}"/>
              </a:ext>
            </a:extLst>
          </p:cNvPr>
          <p:cNvSpPr>
            <a:spLocks noGrp="1"/>
          </p:cNvSpPr>
          <p:nvPr>
            <p:ph type="sldNum" sz="quarter" idx="16"/>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a:t>
            </a:fld>
            <a:endParaRPr lang="en-US" dirty="0">
              <a:solidFill>
                <a:srgbClr val="F79646">
                  <a:lumMod val="75000"/>
                </a:srgbClr>
              </a:solidFill>
            </a:endParaRPr>
          </a:p>
        </p:txBody>
      </p:sp>
      <p:sp>
        <p:nvSpPr>
          <p:cNvPr id="7" name="Title 6">
            <a:extLst>
              <a:ext uri="{FF2B5EF4-FFF2-40B4-BE49-F238E27FC236}">
                <a16:creationId xmlns:a16="http://schemas.microsoft.com/office/drawing/2014/main" id="{C6822EDA-341F-4AFF-859C-28923EF3B6A1}"/>
              </a:ext>
            </a:extLst>
          </p:cNvPr>
          <p:cNvSpPr>
            <a:spLocks noGrp="1"/>
          </p:cNvSpPr>
          <p:nvPr>
            <p:ph type="title"/>
          </p:nvPr>
        </p:nvSpPr>
        <p:spPr/>
        <p:txBody>
          <a:bodyPr/>
          <a:lstStyle/>
          <a:p>
            <a:r>
              <a:rPr lang="en-IN" dirty="0"/>
              <a:t>Quality Management System</a:t>
            </a:r>
          </a:p>
        </p:txBody>
      </p:sp>
      <p:graphicFrame>
        <p:nvGraphicFramePr>
          <p:cNvPr id="10" name="Diagram 9">
            <a:extLst>
              <a:ext uri="{FF2B5EF4-FFF2-40B4-BE49-F238E27FC236}">
                <a16:creationId xmlns:a16="http://schemas.microsoft.com/office/drawing/2014/main" id="{902DAAEE-D9E6-4B62-9A1E-8AF2B5C468E4}"/>
              </a:ext>
            </a:extLst>
          </p:cNvPr>
          <p:cNvGraphicFramePr/>
          <p:nvPr>
            <p:extLst/>
          </p:nvPr>
        </p:nvGraphicFramePr>
        <p:xfrm>
          <a:off x="228600" y="1524000"/>
          <a:ext cx="45720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a:extLst>
              <a:ext uri="{FF2B5EF4-FFF2-40B4-BE49-F238E27FC236}">
                <a16:creationId xmlns:a16="http://schemas.microsoft.com/office/drawing/2014/main" id="{0FCE699E-6B59-48D8-AE55-98BA3B6127BA}"/>
              </a:ext>
            </a:extLst>
          </p:cNvPr>
          <p:cNvPicPr>
            <a:picLocks noChangeAspect="1"/>
          </p:cNvPicPr>
          <p:nvPr/>
        </p:nvPicPr>
        <p:blipFill>
          <a:blip r:embed="rId8"/>
          <a:stretch>
            <a:fillRect/>
          </a:stretch>
        </p:blipFill>
        <p:spPr>
          <a:xfrm>
            <a:off x="6363106" y="316630"/>
            <a:ext cx="2329291" cy="2021039"/>
          </a:xfrm>
          <a:prstGeom prst="rect">
            <a:avLst/>
          </a:prstGeom>
        </p:spPr>
      </p:pic>
      <p:pic>
        <p:nvPicPr>
          <p:cNvPr id="12" name="Picture 11">
            <a:extLst>
              <a:ext uri="{FF2B5EF4-FFF2-40B4-BE49-F238E27FC236}">
                <a16:creationId xmlns:a16="http://schemas.microsoft.com/office/drawing/2014/main" id="{D704326C-F2BB-4166-B28E-12A277A3208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17397" y="116398"/>
            <a:ext cx="493203" cy="493202"/>
          </a:xfrm>
          <a:prstGeom prst="rect">
            <a:avLst/>
          </a:prstGeom>
        </p:spPr>
      </p:pic>
      <p:pic>
        <p:nvPicPr>
          <p:cNvPr id="13" name="Picture 12">
            <a:extLst>
              <a:ext uri="{FF2B5EF4-FFF2-40B4-BE49-F238E27FC236}">
                <a16:creationId xmlns:a16="http://schemas.microsoft.com/office/drawing/2014/main" id="{37CF25FB-E8C6-4F60-BB6D-512AC5C36902}"/>
              </a:ext>
            </a:extLst>
          </p:cNvPr>
          <p:cNvPicPr>
            <a:picLocks noChangeAspect="1"/>
          </p:cNvPicPr>
          <p:nvPr/>
        </p:nvPicPr>
        <p:blipFill>
          <a:blip r:embed="rId10"/>
          <a:stretch>
            <a:fillRect/>
          </a:stretch>
        </p:blipFill>
        <p:spPr>
          <a:xfrm>
            <a:off x="8692397" y="1130161"/>
            <a:ext cx="639782" cy="549017"/>
          </a:xfrm>
          <a:prstGeom prst="rect">
            <a:avLst/>
          </a:prstGeom>
        </p:spPr>
      </p:pic>
      <p:pic>
        <p:nvPicPr>
          <p:cNvPr id="14" name="Picture 5" descr="Picture 5">
            <a:extLst>
              <a:ext uri="{FF2B5EF4-FFF2-40B4-BE49-F238E27FC236}">
                <a16:creationId xmlns:a16="http://schemas.microsoft.com/office/drawing/2014/main" id="{5FE64F43-8D75-4D4E-B914-6D754E46EB22}"/>
              </a:ext>
            </a:extLst>
          </p:cNvPr>
          <p:cNvPicPr>
            <a:picLocks noChangeAspect="1"/>
          </p:cNvPicPr>
          <p:nvPr/>
        </p:nvPicPr>
        <p:blipFill>
          <a:blip r:embed="rId11"/>
          <a:stretch>
            <a:fillRect/>
          </a:stretch>
        </p:blipFill>
        <p:spPr>
          <a:xfrm>
            <a:off x="5715000" y="1539696"/>
            <a:ext cx="517703" cy="517704"/>
          </a:xfrm>
          <a:prstGeom prst="rect">
            <a:avLst/>
          </a:prstGeom>
          <a:ln w="12700">
            <a:miter lim="400000"/>
          </a:ln>
        </p:spPr>
      </p:pic>
      <p:pic>
        <p:nvPicPr>
          <p:cNvPr id="15" name="Picture 2" descr="Picture 2">
            <a:extLst>
              <a:ext uri="{FF2B5EF4-FFF2-40B4-BE49-F238E27FC236}">
                <a16:creationId xmlns:a16="http://schemas.microsoft.com/office/drawing/2014/main" id="{C5BCF9C3-8B81-40E4-BD34-EE355E59B44C}"/>
              </a:ext>
            </a:extLst>
          </p:cNvPr>
          <p:cNvPicPr>
            <a:picLocks noChangeAspect="1"/>
          </p:cNvPicPr>
          <p:nvPr/>
        </p:nvPicPr>
        <p:blipFill>
          <a:blip r:embed="rId12"/>
          <a:stretch>
            <a:fillRect/>
          </a:stretch>
        </p:blipFill>
        <p:spPr>
          <a:xfrm>
            <a:off x="6172200" y="2201730"/>
            <a:ext cx="548667" cy="465270"/>
          </a:xfrm>
          <a:prstGeom prst="rect">
            <a:avLst/>
          </a:prstGeom>
          <a:ln w="12700">
            <a:miter lim="400000"/>
          </a:ln>
        </p:spPr>
      </p:pic>
    </p:spTree>
    <p:extLst>
      <p:ext uri="{BB962C8B-B14F-4D97-AF65-F5344CB8AC3E}">
        <p14:creationId xmlns:p14="http://schemas.microsoft.com/office/powerpoint/2010/main" val="142007626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9CFF0-520E-4A59-AB70-EFF015EAD9FE}"/>
              </a:ext>
            </a:extLst>
          </p:cNvPr>
          <p:cNvSpPr>
            <a:spLocks noGrp="1"/>
          </p:cNvSpPr>
          <p:nvPr>
            <p:ph type="title"/>
          </p:nvPr>
        </p:nvSpPr>
        <p:spPr/>
        <p:txBody>
          <a:bodyPr/>
          <a:lstStyle/>
          <a:p>
            <a:r>
              <a:rPr lang="en-IN" dirty="0"/>
              <a:t>Quality &amp; CAPA INVENTYS Process</a:t>
            </a:r>
          </a:p>
        </p:txBody>
      </p:sp>
      <p:sp>
        <p:nvSpPr>
          <p:cNvPr id="4" name="Date Placeholder 3">
            <a:extLst>
              <a:ext uri="{FF2B5EF4-FFF2-40B4-BE49-F238E27FC236}">
                <a16:creationId xmlns:a16="http://schemas.microsoft.com/office/drawing/2014/main" id="{4FA421BC-9424-48D8-BD24-68C7D1F08CD4}"/>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0F4DBBB7-5581-4BFD-BF42-A34D78047E75}"/>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4728A345-C36A-488F-A2D2-CA16A4E7844E}"/>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0</a:t>
            </a:fld>
            <a:endParaRPr lang="en-US" dirty="0">
              <a:solidFill>
                <a:srgbClr val="F79646">
                  <a:lumMod val="75000"/>
                </a:srgbClr>
              </a:solidFill>
            </a:endParaRPr>
          </a:p>
        </p:txBody>
      </p:sp>
      <p:grpSp>
        <p:nvGrpSpPr>
          <p:cNvPr id="7" name="Group 6">
            <a:extLst>
              <a:ext uri="{FF2B5EF4-FFF2-40B4-BE49-F238E27FC236}">
                <a16:creationId xmlns:a16="http://schemas.microsoft.com/office/drawing/2014/main" id="{34FE583F-24E5-498D-A3AE-02DAA95E10B8}"/>
              </a:ext>
            </a:extLst>
          </p:cNvPr>
          <p:cNvGrpSpPr/>
          <p:nvPr/>
        </p:nvGrpSpPr>
        <p:grpSpPr>
          <a:xfrm>
            <a:off x="632520" y="1196752"/>
            <a:ext cx="8744584" cy="4904423"/>
            <a:chOff x="445135" y="1314450"/>
            <a:chExt cx="8744584" cy="4904423"/>
          </a:xfrm>
        </p:grpSpPr>
        <p:sp>
          <p:nvSpPr>
            <p:cNvPr id="8" name="Textfeld 8">
              <a:extLst>
                <a:ext uri="{FF2B5EF4-FFF2-40B4-BE49-F238E27FC236}">
                  <a16:creationId xmlns:a16="http://schemas.microsoft.com/office/drawing/2014/main" id="{6EA5128F-E8A9-4BB9-84CA-E4CB2FCD7A37}"/>
                </a:ext>
              </a:extLst>
            </p:cNvPr>
            <p:cNvSpPr txBox="1"/>
            <p:nvPr>
              <p:custDataLst>
                <p:tags r:id="rId1"/>
              </p:custDataLst>
            </p:nvPr>
          </p:nvSpPr>
          <p:spPr bwMode="gray">
            <a:xfrm>
              <a:off x="7020560" y="3782060"/>
              <a:ext cx="1991360" cy="381000"/>
            </a:xfrm>
            <a:prstGeom prst="rect">
              <a:avLst/>
            </a:prstGeom>
          </p:spPr>
          <p:txBody>
            <a:bodyPr vert="horz" wrap="square" lIns="0" tIns="0" rIns="0" bIns="0" rtlCol="0">
              <a:noAutofit/>
            </a:bodyPr>
            <a:lstStyle/>
            <a:p>
              <a:r>
                <a:rPr lang="en-US" sz="1200" b="1" dirty="0"/>
                <a:t>Audit conduction</a:t>
              </a:r>
            </a:p>
            <a:p>
              <a:pPr marL="171450" indent="-171450">
                <a:buFont typeface="Arial" panose="020B0604020202020204" pitchFamily="34" charset="0"/>
                <a:buChar char="•"/>
              </a:pPr>
              <a:r>
                <a:rPr lang="en-US" sz="1200" dirty="0"/>
                <a:t>General system audit</a:t>
              </a:r>
            </a:p>
            <a:p>
              <a:pPr marL="171450" indent="-171450">
                <a:buFont typeface="Arial" panose="020B0604020202020204" pitchFamily="34" charset="0"/>
                <a:buChar char="•"/>
              </a:pPr>
              <a:r>
                <a:rPr lang="en-US" sz="1200" dirty="0"/>
                <a:t>Compliance Audit</a:t>
              </a:r>
            </a:p>
            <a:p>
              <a:pPr marL="171450" indent="-171450">
                <a:buFont typeface="Arial" panose="020B0604020202020204" pitchFamily="34" charset="0"/>
                <a:buChar char="•"/>
              </a:pPr>
              <a:r>
                <a:rPr lang="en-US" sz="1200" dirty="0"/>
                <a:t>Process Audit</a:t>
              </a:r>
            </a:p>
            <a:p>
              <a:pPr marL="171450" indent="-171450">
                <a:buFont typeface="Arial" panose="020B0604020202020204" pitchFamily="34" charset="0"/>
                <a:buChar char="•"/>
              </a:pPr>
              <a:r>
                <a:rPr lang="en-US" sz="1200" dirty="0"/>
                <a:t>Subject-specific Audits</a:t>
              </a:r>
            </a:p>
            <a:p>
              <a:pPr marL="171450" indent="-171450">
                <a:buFont typeface="Arial" panose="020B0604020202020204" pitchFamily="34" charset="0"/>
                <a:buChar char="•"/>
              </a:pPr>
              <a:r>
                <a:rPr lang="en-US" sz="1200" dirty="0"/>
                <a:t>Expert Audits</a:t>
              </a:r>
            </a:p>
            <a:p>
              <a:pPr marL="171450" indent="-171450">
                <a:buFont typeface="Arial" panose="020B0604020202020204" pitchFamily="34" charset="0"/>
                <a:buChar char="•"/>
              </a:pPr>
              <a:r>
                <a:rPr lang="en-US" sz="1200" dirty="0">
                  <a:solidFill>
                    <a:schemeClr val="tx1">
                      <a:lumMod val="75000"/>
                    </a:schemeClr>
                  </a:solidFill>
                </a:rPr>
                <a:t>Operational Audits</a:t>
              </a:r>
            </a:p>
          </p:txBody>
        </p:sp>
        <p:grpSp>
          <p:nvGrpSpPr>
            <p:cNvPr id="9" name="Gruppieren 9">
              <a:extLst>
                <a:ext uri="{FF2B5EF4-FFF2-40B4-BE49-F238E27FC236}">
                  <a16:creationId xmlns:a16="http://schemas.microsoft.com/office/drawing/2014/main" id="{DFD51A49-7AD5-4151-97ED-00C256A37419}"/>
                </a:ext>
              </a:extLst>
            </p:cNvPr>
            <p:cNvGrpSpPr>
              <a:grpSpLocks noChangeAspect="1"/>
            </p:cNvGrpSpPr>
            <p:nvPr>
              <p:custDataLst>
                <p:tags r:id="rId2"/>
              </p:custDataLst>
            </p:nvPr>
          </p:nvGrpSpPr>
          <p:grpSpPr>
            <a:xfrm>
              <a:off x="2504728" y="1713415"/>
              <a:ext cx="4121025" cy="4111500"/>
              <a:chOff x="1159472" y="1464115"/>
              <a:chExt cx="4889250" cy="4879389"/>
            </a:xfrm>
          </p:grpSpPr>
          <p:sp>
            <p:nvSpPr>
              <p:cNvPr id="58" name="Kreis 10">
                <a:extLst>
                  <a:ext uri="{FF2B5EF4-FFF2-40B4-BE49-F238E27FC236}">
                    <a16:creationId xmlns:a16="http://schemas.microsoft.com/office/drawing/2014/main" id="{EF5D42B2-4252-4F3F-B986-3C7BBE93616B}"/>
                  </a:ext>
                </a:extLst>
              </p:cNvPr>
              <p:cNvSpPr>
                <a:spLocks noChangeAspect="1"/>
              </p:cNvSpPr>
              <p:nvPr/>
            </p:nvSpPr>
            <p:spPr bwMode="auto">
              <a:xfrm>
                <a:off x="1188721" y="1483504"/>
                <a:ext cx="4860000" cy="4860000"/>
              </a:xfrm>
              <a:prstGeom prst="pie">
                <a:avLst>
                  <a:gd name="adj1" fmla="val 0"/>
                  <a:gd name="adj2" fmla="val 5400000"/>
                </a:avLst>
              </a:prstGeom>
              <a:solidFill>
                <a:schemeClr val="accent1"/>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a:p>
            </p:txBody>
          </p:sp>
          <p:sp>
            <p:nvSpPr>
              <p:cNvPr id="59" name="Kreis 11">
                <a:extLst>
                  <a:ext uri="{FF2B5EF4-FFF2-40B4-BE49-F238E27FC236}">
                    <a16:creationId xmlns:a16="http://schemas.microsoft.com/office/drawing/2014/main" id="{4C41E006-FBAD-4D24-9457-55298FD52A86}"/>
                  </a:ext>
                </a:extLst>
              </p:cNvPr>
              <p:cNvSpPr>
                <a:spLocks noChangeAspect="1"/>
              </p:cNvSpPr>
              <p:nvPr/>
            </p:nvSpPr>
            <p:spPr bwMode="auto">
              <a:xfrm rot="16200000">
                <a:off x="1188722" y="1464116"/>
                <a:ext cx="4860000" cy="4860000"/>
              </a:xfrm>
              <a:prstGeom prst="pie">
                <a:avLst>
                  <a:gd name="adj1" fmla="val 0"/>
                  <a:gd name="adj2" fmla="val 5400000"/>
                </a:avLst>
              </a:prstGeom>
              <a:solidFill>
                <a:schemeClr val="accent3"/>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a:p>
            </p:txBody>
          </p:sp>
          <p:sp>
            <p:nvSpPr>
              <p:cNvPr id="60" name="Kreis 12">
                <a:extLst>
                  <a:ext uri="{FF2B5EF4-FFF2-40B4-BE49-F238E27FC236}">
                    <a16:creationId xmlns:a16="http://schemas.microsoft.com/office/drawing/2014/main" id="{C6633B68-285B-4C69-81CA-63C0CC95A726}"/>
                  </a:ext>
                </a:extLst>
              </p:cNvPr>
              <p:cNvSpPr>
                <a:spLocks noChangeAspect="1"/>
              </p:cNvSpPr>
              <p:nvPr/>
            </p:nvSpPr>
            <p:spPr bwMode="auto">
              <a:xfrm rot="10800000">
                <a:off x="1159472" y="1464115"/>
                <a:ext cx="4860000" cy="4860000"/>
              </a:xfrm>
              <a:prstGeom prst="pie">
                <a:avLst>
                  <a:gd name="adj1" fmla="val 0"/>
                  <a:gd name="adj2" fmla="val 5400000"/>
                </a:avLst>
              </a:prstGeom>
              <a:solidFill>
                <a:schemeClr val="accent2"/>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a:p>
            </p:txBody>
          </p:sp>
          <p:sp>
            <p:nvSpPr>
              <p:cNvPr id="61" name="Kreis 13">
                <a:extLst>
                  <a:ext uri="{FF2B5EF4-FFF2-40B4-BE49-F238E27FC236}">
                    <a16:creationId xmlns:a16="http://schemas.microsoft.com/office/drawing/2014/main" id="{92AB74CF-F339-4F9A-9E1B-452AC331A7A8}"/>
                  </a:ext>
                </a:extLst>
              </p:cNvPr>
              <p:cNvSpPr>
                <a:spLocks noChangeAspect="1"/>
              </p:cNvSpPr>
              <p:nvPr/>
            </p:nvSpPr>
            <p:spPr bwMode="auto">
              <a:xfrm rot="5400000">
                <a:off x="1159472" y="1483504"/>
                <a:ext cx="4860000" cy="4860000"/>
              </a:xfrm>
              <a:prstGeom prst="pie">
                <a:avLst>
                  <a:gd name="adj1" fmla="val 0"/>
                  <a:gd name="adj2" fmla="val 5400000"/>
                </a:avLst>
              </a:prstGeom>
              <a:solidFill>
                <a:schemeClr val="accent2">
                  <a:lumMod val="40000"/>
                  <a:lumOff val="60000"/>
                </a:schemeClr>
              </a:solidFill>
              <a:ln w="9525" algn="ctr">
                <a:solidFill>
                  <a:schemeClr val="tx1"/>
                </a:solidFill>
                <a:miter lim="800000"/>
                <a:headEnd/>
                <a:tailEnd/>
              </a:ln>
              <a:effectLst/>
            </p:spPr>
            <p:txBody>
              <a:bodyPr vert="horz" wrap="square" lIns="0" tIns="0" rIns="0" bIns="0" numCol="1" rtlCol="0" anchor="ctr" anchorCtr="0" compatLnSpc="1">
                <a:prstTxWarp prst="textNoShape">
                  <a:avLst/>
                </a:prstTxWarp>
              </a:bodyPr>
              <a:lstStyle/>
              <a:p>
                <a:pPr algn="ctr"/>
                <a:endParaRPr lang="en-US" dirty="0"/>
              </a:p>
            </p:txBody>
          </p:sp>
        </p:grpSp>
        <p:sp>
          <p:nvSpPr>
            <p:cNvPr id="10" name="Textfeld 14">
              <a:extLst>
                <a:ext uri="{FF2B5EF4-FFF2-40B4-BE49-F238E27FC236}">
                  <a16:creationId xmlns:a16="http://schemas.microsoft.com/office/drawing/2014/main" id="{E60EE51A-5258-42AE-A37C-13641265D7E1}"/>
                </a:ext>
              </a:extLst>
            </p:cNvPr>
            <p:cNvSpPr txBox="1"/>
            <p:nvPr>
              <p:custDataLst>
                <p:tags r:id="rId3"/>
              </p:custDataLst>
            </p:nvPr>
          </p:nvSpPr>
          <p:spPr bwMode="gray">
            <a:xfrm>
              <a:off x="3300413" y="2797175"/>
              <a:ext cx="863600" cy="463550"/>
            </a:xfrm>
            <a:prstGeom prst="rect">
              <a:avLst/>
            </a:prstGeom>
          </p:spPr>
          <p:txBody>
            <a:bodyPr vert="horz" wrap="square" lIns="0" tIns="0" rIns="0" bIns="0" rtlCol="0" anchor="ctr">
              <a:noAutofit/>
            </a:bodyPr>
            <a:lstStyle/>
            <a:p>
              <a:pPr algn="ctr"/>
              <a:r>
                <a:rPr lang="en-US" dirty="0">
                  <a:solidFill>
                    <a:schemeClr val="bg1"/>
                  </a:solidFill>
                </a:rPr>
                <a:t>Plan</a:t>
              </a:r>
            </a:p>
          </p:txBody>
        </p:sp>
        <p:sp>
          <p:nvSpPr>
            <p:cNvPr id="11" name="Textfeld 15">
              <a:extLst>
                <a:ext uri="{FF2B5EF4-FFF2-40B4-BE49-F238E27FC236}">
                  <a16:creationId xmlns:a16="http://schemas.microsoft.com/office/drawing/2014/main" id="{1A59BA9E-5B45-45DF-A2FC-B871B57D60C3}"/>
                </a:ext>
              </a:extLst>
            </p:cNvPr>
            <p:cNvSpPr txBox="1"/>
            <p:nvPr>
              <p:custDataLst>
                <p:tags r:id="rId4"/>
              </p:custDataLst>
            </p:nvPr>
          </p:nvSpPr>
          <p:spPr bwMode="gray">
            <a:xfrm>
              <a:off x="5040313" y="2797175"/>
              <a:ext cx="863600" cy="463550"/>
            </a:xfrm>
            <a:prstGeom prst="rect">
              <a:avLst/>
            </a:prstGeom>
          </p:spPr>
          <p:txBody>
            <a:bodyPr vert="horz" wrap="square" lIns="0" tIns="0" rIns="0" bIns="0" rtlCol="0" anchor="ctr">
              <a:noAutofit/>
            </a:bodyPr>
            <a:lstStyle/>
            <a:p>
              <a:pPr algn="ctr"/>
              <a:r>
                <a:rPr lang="en-US" dirty="0">
                  <a:solidFill>
                    <a:schemeClr val="bg1"/>
                  </a:solidFill>
                </a:rPr>
                <a:t>Do</a:t>
              </a:r>
            </a:p>
          </p:txBody>
        </p:sp>
        <p:sp>
          <p:nvSpPr>
            <p:cNvPr id="12" name="Textfeld 16">
              <a:extLst>
                <a:ext uri="{FF2B5EF4-FFF2-40B4-BE49-F238E27FC236}">
                  <a16:creationId xmlns:a16="http://schemas.microsoft.com/office/drawing/2014/main" id="{547B63FA-D5A2-4FA8-BE67-B3B0A3880F46}"/>
                </a:ext>
              </a:extLst>
            </p:cNvPr>
            <p:cNvSpPr txBox="1"/>
            <p:nvPr>
              <p:custDataLst>
                <p:tags r:id="rId5"/>
              </p:custDataLst>
            </p:nvPr>
          </p:nvSpPr>
          <p:spPr bwMode="gray">
            <a:xfrm>
              <a:off x="5097463" y="4359275"/>
              <a:ext cx="863600" cy="463550"/>
            </a:xfrm>
            <a:prstGeom prst="rect">
              <a:avLst/>
            </a:prstGeom>
          </p:spPr>
          <p:txBody>
            <a:bodyPr vert="horz" wrap="square" lIns="0" tIns="0" rIns="0" bIns="0" rtlCol="0" anchor="ctr">
              <a:noAutofit/>
            </a:bodyPr>
            <a:lstStyle/>
            <a:p>
              <a:pPr algn="ctr"/>
              <a:r>
                <a:rPr lang="en-US" dirty="0">
                  <a:solidFill>
                    <a:schemeClr val="bg1"/>
                  </a:solidFill>
                </a:rPr>
                <a:t>Check</a:t>
              </a:r>
            </a:p>
          </p:txBody>
        </p:sp>
        <p:sp>
          <p:nvSpPr>
            <p:cNvPr id="13" name="Textfeld 17">
              <a:extLst>
                <a:ext uri="{FF2B5EF4-FFF2-40B4-BE49-F238E27FC236}">
                  <a16:creationId xmlns:a16="http://schemas.microsoft.com/office/drawing/2014/main" id="{A326EC7F-D2DF-4A97-90E4-8F28782C9B0A}"/>
                </a:ext>
              </a:extLst>
            </p:cNvPr>
            <p:cNvSpPr txBox="1"/>
            <p:nvPr>
              <p:custDataLst>
                <p:tags r:id="rId6"/>
              </p:custDataLst>
            </p:nvPr>
          </p:nvSpPr>
          <p:spPr bwMode="gray">
            <a:xfrm>
              <a:off x="3281363" y="4384675"/>
              <a:ext cx="863600" cy="463550"/>
            </a:xfrm>
            <a:prstGeom prst="rect">
              <a:avLst/>
            </a:prstGeom>
          </p:spPr>
          <p:txBody>
            <a:bodyPr vert="horz" wrap="square" lIns="0" tIns="0" rIns="0" bIns="0" rtlCol="0" anchor="ctr">
              <a:noAutofit/>
            </a:bodyPr>
            <a:lstStyle/>
            <a:p>
              <a:pPr algn="ctr"/>
              <a:r>
                <a:rPr lang="en-US" dirty="0"/>
                <a:t>Act</a:t>
              </a:r>
            </a:p>
          </p:txBody>
        </p:sp>
        <p:sp>
          <p:nvSpPr>
            <p:cNvPr id="14" name="Gebogener Pfeil 18">
              <a:extLst>
                <a:ext uri="{FF2B5EF4-FFF2-40B4-BE49-F238E27FC236}">
                  <a16:creationId xmlns:a16="http://schemas.microsoft.com/office/drawing/2014/main" id="{E4998029-4792-484B-AB7A-AEFEB6BA5190}"/>
                </a:ext>
              </a:extLst>
            </p:cNvPr>
            <p:cNvSpPr/>
            <p:nvPr>
              <p:custDataLst>
                <p:tags r:id="rId7"/>
              </p:custDataLst>
            </p:nvPr>
          </p:nvSpPr>
          <p:spPr bwMode="auto">
            <a:xfrm>
              <a:off x="2240916" y="1439545"/>
              <a:ext cx="4680000" cy="4680000"/>
            </a:xfrm>
            <a:prstGeom prst="circularArrow">
              <a:avLst>
                <a:gd name="adj1" fmla="val 5616"/>
                <a:gd name="adj2" fmla="val 143064"/>
                <a:gd name="adj3" fmla="val 10625138"/>
                <a:gd name="adj4" fmla="val 9382026"/>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15" name="Gebogener Pfeil 19">
              <a:extLst>
                <a:ext uri="{FF2B5EF4-FFF2-40B4-BE49-F238E27FC236}">
                  <a16:creationId xmlns:a16="http://schemas.microsoft.com/office/drawing/2014/main" id="{B6401B57-C4F6-4E81-B3AE-834F5A4E51F6}"/>
                </a:ext>
              </a:extLst>
            </p:cNvPr>
            <p:cNvSpPr/>
            <p:nvPr>
              <p:custDataLst>
                <p:tags r:id="rId8"/>
              </p:custDataLst>
            </p:nvPr>
          </p:nvSpPr>
          <p:spPr bwMode="auto">
            <a:xfrm>
              <a:off x="2240916" y="1439545"/>
              <a:ext cx="4680000" cy="4680000"/>
            </a:xfrm>
            <a:prstGeom prst="circularArrow">
              <a:avLst>
                <a:gd name="adj1" fmla="val 5616"/>
                <a:gd name="adj2" fmla="val 143064"/>
                <a:gd name="adj3" fmla="val 5236466"/>
                <a:gd name="adj4" fmla="val 3495530"/>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16" name="Gebogener Pfeil 20">
              <a:extLst>
                <a:ext uri="{FF2B5EF4-FFF2-40B4-BE49-F238E27FC236}">
                  <a16:creationId xmlns:a16="http://schemas.microsoft.com/office/drawing/2014/main" id="{31FD0A98-483F-42A2-B3B7-DD1869593ADF}"/>
                </a:ext>
              </a:extLst>
            </p:cNvPr>
            <p:cNvSpPr/>
            <p:nvPr>
              <p:custDataLst>
                <p:tags r:id="rId9"/>
              </p:custDataLst>
            </p:nvPr>
          </p:nvSpPr>
          <p:spPr bwMode="auto">
            <a:xfrm>
              <a:off x="2240916" y="1439545"/>
              <a:ext cx="4680000" cy="4680000"/>
            </a:xfrm>
            <a:prstGeom prst="circularArrow">
              <a:avLst>
                <a:gd name="adj1" fmla="val 5616"/>
                <a:gd name="adj2" fmla="val 143064"/>
                <a:gd name="adj3" fmla="val 3316383"/>
                <a:gd name="adj4" fmla="val 1708194"/>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solidFill>
                  <a:schemeClr val="bg1"/>
                </a:solidFill>
              </a:endParaRPr>
            </a:p>
          </p:txBody>
        </p:sp>
        <p:sp>
          <p:nvSpPr>
            <p:cNvPr id="17" name="Gebogener Pfeil 21">
              <a:extLst>
                <a:ext uri="{FF2B5EF4-FFF2-40B4-BE49-F238E27FC236}">
                  <a16:creationId xmlns:a16="http://schemas.microsoft.com/office/drawing/2014/main" id="{98056A50-850D-42ED-8CCD-8C71DFF217A0}"/>
                </a:ext>
              </a:extLst>
            </p:cNvPr>
            <p:cNvSpPr/>
            <p:nvPr>
              <p:custDataLst>
                <p:tags r:id="rId10"/>
              </p:custDataLst>
            </p:nvPr>
          </p:nvSpPr>
          <p:spPr bwMode="auto">
            <a:xfrm>
              <a:off x="2240916" y="1439545"/>
              <a:ext cx="4680000" cy="4680000"/>
            </a:xfrm>
            <a:prstGeom prst="circularArrow">
              <a:avLst>
                <a:gd name="adj1" fmla="val 5616"/>
                <a:gd name="adj2" fmla="val 143064"/>
                <a:gd name="adj3" fmla="val 1544457"/>
                <a:gd name="adj4" fmla="val 496490"/>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18" name="Gebogener Pfeil 22">
              <a:extLst>
                <a:ext uri="{FF2B5EF4-FFF2-40B4-BE49-F238E27FC236}">
                  <a16:creationId xmlns:a16="http://schemas.microsoft.com/office/drawing/2014/main" id="{93B73AF4-12AB-41D6-9DE2-D907DA79733A}"/>
                </a:ext>
              </a:extLst>
            </p:cNvPr>
            <p:cNvSpPr/>
            <p:nvPr>
              <p:custDataLst>
                <p:tags r:id="rId11"/>
              </p:custDataLst>
            </p:nvPr>
          </p:nvSpPr>
          <p:spPr bwMode="auto">
            <a:xfrm>
              <a:off x="2240916" y="1439545"/>
              <a:ext cx="4680000" cy="4680000"/>
            </a:xfrm>
            <a:prstGeom prst="circularArrow">
              <a:avLst>
                <a:gd name="adj1" fmla="val 5616"/>
                <a:gd name="adj2" fmla="val 143064"/>
                <a:gd name="adj3" fmla="val 21440656"/>
                <a:gd name="adj4" fmla="val 20252242"/>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19" name="Gebogener Pfeil 23">
              <a:extLst>
                <a:ext uri="{FF2B5EF4-FFF2-40B4-BE49-F238E27FC236}">
                  <a16:creationId xmlns:a16="http://schemas.microsoft.com/office/drawing/2014/main" id="{09F3B869-4C0F-4EDF-92A9-EDE4C8D1C045}"/>
                </a:ext>
              </a:extLst>
            </p:cNvPr>
            <p:cNvSpPr/>
            <p:nvPr>
              <p:custDataLst>
                <p:tags r:id="rId12"/>
              </p:custDataLst>
            </p:nvPr>
          </p:nvSpPr>
          <p:spPr bwMode="auto">
            <a:xfrm>
              <a:off x="2240916" y="1439545"/>
              <a:ext cx="4680000" cy="4680000"/>
            </a:xfrm>
            <a:prstGeom prst="circularArrow">
              <a:avLst>
                <a:gd name="adj1" fmla="val 5616"/>
                <a:gd name="adj2" fmla="val 143064"/>
                <a:gd name="adj3" fmla="val 18208264"/>
                <a:gd name="adj4" fmla="val 16217914"/>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20" name="Gebogener Pfeil 24">
              <a:extLst>
                <a:ext uri="{FF2B5EF4-FFF2-40B4-BE49-F238E27FC236}">
                  <a16:creationId xmlns:a16="http://schemas.microsoft.com/office/drawing/2014/main" id="{16A4545B-9D2F-442E-BBAB-39C6DC8CF856}"/>
                </a:ext>
              </a:extLst>
            </p:cNvPr>
            <p:cNvSpPr/>
            <p:nvPr>
              <p:custDataLst>
                <p:tags r:id="rId13"/>
              </p:custDataLst>
            </p:nvPr>
          </p:nvSpPr>
          <p:spPr bwMode="auto">
            <a:xfrm>
              <a:off x="2240916" y="1439545"/>
              <a:ext cx="4680000" cy="4680000"/>
            </a:xfrm>
            <a:prstGeom prst="circularArrow">
              <a:avLst>
                <a:gd name="adj1" fmla="val 5616"/>
                <a:gd name="adj2" fmla="val 143064"/>
                <a:gd name="adj3" fmla="val 14153623"/>
                <a:gd name="adj4" fmla="val 13297752"/>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21" name="Gebogener Pfeil 25">
              <a:extLst>
                <a:ext uri="{FF2B5EF4-FFF2-40B4-BE49-F238E27FC236}">
                  <a16:creationId xmlns:a16="http://schemas.microsoft.com/office/drawing/2014/main" id="{442272A6-D598-4A2E-AB0A-3D8802D33595}"/>
                </a:ext>
              </a:extLst>
            </p:cNvPr>
            <p:cNvSpPr/>
            <p:nvPr>
              <p:custDataLst>
                <p:tags r:id="rId14"/>
              </p:custDataLst>
            </p:nvPr>
          </p:nvSpPr>
          <p:spPr bwMode="auto">
            <a:xfrm>
              <a:off x="2240916" y="1439545"/>
              <a:ext cx="4680000" cy="4680000"/>
            </a:xfrm>
            <a:prstGeom prst="circularArrow">
              <a:avLst>
                <a:gd name="adj1" fmla="val 5616"/>
                <a:gd name="adj2" fmla="val 143064"/>
                <a:gd name="adj3" fmla="val 13148781"/>
                <a:gd name="adj4" fmla="val 12466438"/>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22" name="Gebogener Pfeil 26">
              <a:extLst>
                <a:ext uri="{FF2B5EF4-FFF2-40B4-BE49-F238E27FC236}">
                  <a16:creationId xmlns:a16="http://schemas.microsoft.com/office/drawing/2014/main" id="{BAD1046B-F283-4FEF-B2A8-C0BBEF646DB9}"/>
                </a:ext>
              </a:extLst>
            </p:cNvPr>
            <p:cNvSpPr/>
            <p:nvPr>
              <p:custDataLst>
                <p:tags r:id="rId15"/>
              </p:custDataLst>
            </p:nvPr>
          </p:nvSpPr>
          <p:spPr bwMode="auto">
            <a:xfrm>
              <a:off x="2240916" y="1439545"/>
              <a:ext cx="4680000" cy="4680000"/>
            </a:xfrm>
            <a:prstGeom prst="circularArrow">
              <a:avLst>
                <a:gd name="adj1" fmla="val 5616"/>
                <a:gd name="adj2" fmla="val 143064"/>
                <a:gd name="adj3" fmla="val 12317849"/>
                <a:gd name="adj4" fmla="val 10822907"/>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23" name="Textfeld 27">
              <a:extLst>
                <a:ext uri="{FF2B5EF4-FFF2-40B4-BE49-F238E27FC236}">
                  <a16:creationId xmlns:a16="http://schemas.microsoft.com/office/drawing/2014/main" id="{3A6DD1B8-9E5C-4B70-8AA8-18CD0D4346F3}"/>
                </a:ext>
              </a:extLst>
            </p:cNvPr>
            <p:cNvSpPr txBox="1"/>
            <p:nvPr>
              <p:custDataLst>
                <p:tags r:id="rId16"/>
              </p:custDataLst>
            </p:nvPr>
          </p:nvSpPr>
          <p:spPr bwMode="gray">
            <a:xfrm>
              <a:off x="6085840" y="1314450"/>
              <a:ext cx="3037840" cy="381000"/>
            </a:xfrm>
            <a:prstGeom prst="rect">
              <a:avLst/>
            </a:prstGeom>
          </p:spPr>
          <p:txBody>
            <a:bodyPr vert="horz" wrap="square" lIns="0" tIns="0" rIns="0" bIns="0" rtlCol="0">
              <a:noAutofit/>
            </a:bodyPr>
            <a:lstStyle/>
            <a:p>
              <a:r>
                <a:rPr lang="en-US" sz="1200" b="1" dirty="0"/>
                <a:t>CAPA</a:t>
              </a:r>
            </a:p>
            <a:p>
              <a:pPr marL="285750" indent="-285750">
                <a:buFont typeface="Arial" panose="020B0604020202020204" pitchFamily="34" charset="0"/>
                <a:buChar char="•"/>
              </a:pPr>
              <a:r>
                <a:rPr lang="en-US" sz="1200" dirty="0"/>
                <a:t>preventive action</a:t>
              </a:r>
            </a:p>
            <a:p>
              <a:pPr marL="285750" indent="-285750">
                <a:buFont typeface="Arial" panose="020B0604020202020204" pitchFamily="34" charset="0"/>
                <a:buChar char="•"/>
              </a:pPr>
              <a:r>
                <a:rPr lang="en-US" sz="1200" dirty="0"/>
                <a:t>lessons learned</a:t>
              </a:r>
            </a:p>
          </p:txBody>
        </p:sp>
        <p:sp>
          <p:nvSpPr>
            <p:cNvPr id="24" name="Textfeld 28">
              <a:extLst>
                <a:ext uri="{FF2B5EF4-FFF2-40B4-BE49-F238E27FC236}">
                  <a16:creationId xmlns:a16="http://schemas.microsoft.com/office/drawing/2014/main" id="{C0E7D778-A5BB-4B16-9A57-6DA4ADE8BB41}"/>
                </a:ext>
              </a:extLst>
            </p:cNvPr>
            <p:cNvSpPr txBox="1"/>
            <p:nvPr>
              <p:custDataLst>
                <p:tags r:id="rId17"/>
              </p:custDataLst>
            </p:nvPr>
          </p:nvSpPr>
          <p:spPr bwMode="gray">
            <a:xfrm>
              <a:off x="6492240" y="5190173"/>
              <a:ext cx="2560320" cy="381000"/>
            </a:xfrm>
            <a:prstGeom prst="rect">
              <a:avLst/>
            </a:prstGeom>
          </p:spPr>
          <p:txBody>
            <a:bodyPr vert="horz" wrap="square" lIns="0" tIns="0" rIns="0" bIns="0" rtlCol="0">
              <a:noAutofit/>
            </a:bodyPr>
            <a:lstStyle/>
            <a:p>
              <a:r>
                <a:rPr lang="en-US" sz="1200" b="1" dirty="0"/>
                <a:t>Complaint management</a:t>
              </a:r>
            </a:p>
            <a:p>
              <a:pPr marL="285750" indent="-285750">
                <a:buFont typeface="Arial" panose="020B0604020202020204" pitchFamily="34" charset="0"/>
                <a:buChar char="•"/>
              </a:pPr>
              <a:r>
                <a:rPr lang="en-US" sz="1200" dirty="0"/>
                <a:t>customer complaints</a:t>
              </a:r>
            </a:p>
            <a:p>
              <a:pPr marL="285750" indent="-285750">
                <a:buFont typeface="Arial" panose="020B0604020202020204" pitchFamily="34" charset="0"/>
                <a:buChar char="•"/>
              </a:pPr>
              <a:r>
                <a:rPr lang="en-US" sz="1200" dirty="0"/>
                <a:t>internal complaints</a:t>
              </a:r>
            </a:p>
          </p:txBody>
        </p:sp>
        <p:sp>
          <p:nvSpPr>
            <p:cNvPr id="25" name="Textfeld 29">
              <a:extLst>
                <a:ext uri="{FF2B5EF4-FFF2-40B4-BE49-F238E27FC236}">
                  <a16:creationId xmlns:a16="http://schemas.microsoft.com/office/drawing/2014/main" id="{5A0E0B92-E98F-42AB-9461-4894E6F5B762}"/>
                </a:ext>
              </a:extLst>
            </p:cNvPr>
            <p:cNvSpPr txBox="1"/>
            <p:nvPr>
              <p:custDataLst>
                <p:tags r:id="rId18"/>
              </p:custDataLst>
            </p:nvPr>
          </p:nvSpPr>
          <p:spPr bwMode="gray">
            <a:xfrm>
              <a:off x="5720080" y="5827713"/>
              <a:ext cx="3322320" cy="381000"/>
            </a:xfrm>
            <a:prstGeom prst="rect">
              <a:avLst/>
            </a:prstGeom>
          </p:spPr>
          <p:txBody>
            <a:bodyPr vert="horz" wrap="square" lIns="0" tIns="0" rIns="0" bIns="0" rtlCol="0">
              <a:noAutofit/>
            </a:bodyPr>
            <a:lstStyle/>
            <a:p>
              <a:r>
                <a:rPr lang="en-US" sz="1200" b="1" dirty="0"/>
                <a:t>Quality measurement</a:t>
              </a:r>
            </a:p>
            <a:p>
              <a:pPr marL="171450" indent="-171450">
                <a:buFont typeface="Arial" panose="020B0604020202020204" pitchFamily="34" charset="0"/>
                <a:buChar char="•"/>
              </a:pPr>
              <a:r>
                <a:rPr lang="en-US" sz="1200" dirty="0"/>
                <a:t>current to objective deviation</a:t>
              </a:r>
            </a:p>
          </p:txBody>
        </p:sp>
        <p:sp>
          <p:nvSpPr>
            <p:cNvPr id="26" name="Textfeld 30">
              <a:extLst>
                <a:ext uri="{FF2B5EF4-FFF2-40B4-BE49-F238E27FC236}">
                  <a16:creationId xmlns:a16="http://schemas.microsoft.com/office/drawing/2014/main" id="{EA48DDB4-8029-4076-AB14-52396A863089}"/>
                </a:ext>
              </a:extLst>
            </p:cNvPr>
            <p:cNvSpPr txBox="1"/>
            <p:nvPr>
              <p:custDataLst>
                <p:tags r:id="rId19"/>
              </p:custDataLst>
            </p:nvPr>
          </p:nvSpPr>
          <p:spPr bwMode="gray">
            <a:xfrm>
              <a:off x="445135" y="3083560"/>
              <a:ext cx="1891665" cy="381000"/>
            </a:xfrm>
            <a:prstGeom prst="rect">
              <a:avLst/>
            </a:prstGeom>
          </p:spPr>
          <p:txBody>
            <a:bodyPr vert="horz" wrap="square" lIns="0" tIns="0" rIns="0" bIns="0" rtlCol="0">
              <a:noAutofit/>
            </a:bodyPr>
            <a:lstStyle/>
            <a:p>
              <a:r>
                <a:rPr lang="en-US" sz="1200" b="1" dirty="0"/>
                <a:t>Quality processes </a:t>
              </a:r>
            </a:p>
            <a:p>
              <a:pPr marL="171450" indent="-171450">
                <a:buFont typeface="Arial" panose="020B0604020202020204" pitchFamily="34" charset="0"/>
                <a:buChar char="•"/>
              </a:pPr>
              <a:r>
                <a:rPr lang="en-US" sz="1200" dirty="0"/>
                <a:t>Q-process development</a:t>
              </a:r>
            </a:p>
            <a:p>
              <a:pPr marL="171450" indent="-171450">
                <a:buFont typeface="Arial" panose="020B0604020202020204" pitchFamily="34" charset="0"/>
                <a:buChar char="•"/>
              </a:pPr>
              <a:r>
                <a:rPr lang="en-US" sz="1200" dirty="0"/>
                <a:t>standardization</a:t>
              </a:r>
            </a:p>
          </p:txBody>
        </p:sp>
        <p:sp>
          <p:nvSpPr>
            <p:cNvPr id="27" name="Textfeld 31">
              <a:extLst>
                <a:ext uri="{FF2B5EF4-FFF2-40B4-BE49-F238E27FC236}">
                  <a16:creationId xmlns:a16="http://schemas.microsoft.com/office/drawing/2014/main" id="{E9675B95-3518-480F-80D0-BB861CAA180F}"/>
                </a:ext>
              </a:extLst>
            </p:cNvPr>
            <p:cNvSpPr txBox="1"/>
            <p:nvPr>
              <p:custDataLst>
                <p:tags r:id="rId20"/>
              </p:custDataLst>
            </p:nvPr>
          </p:nvSpPr>
          <p:spPr bwMode="gray">
            <a:xfrm>
              <a:off x="1623695" y="1314450"/>
              <a:ext cx="1434465" cy="381000"/>
            </a:xfrm>
            <a:prstGeom prst="rect">
              <a:avLst/>
            </a:prstGeom>
          </p:spPr>
          <p:txBody>
            <a:bodyPr vert="horz" wrap="square" lIns="0" tIns="0" rIns="0" bIns="0" rtlCol="0">
              <a:noAutofit/>
            </a:bodyPr>
            <a:lstStyle/>
            <a:p>
              <a:r>
                <a:rPr lang="en-US" sz="1200" b="1" dirty="0"/>
                <a:t>Quality enabling</a:t>
              </a:r>
            </a:p>
            <a:p>
              <a:pPr marL="171450" indent="-171450">
                <a:buFont typeface="Arial" panose="020B0604020202020204" pitchFamily="34" charset="0"/>
                <a:buChar char="•"/>
              </a:pPr>
              <a:r>
                <a:rPr lang="en-US" sz="1200" dirty="0"/>
                <a:t>Q-awareness</a:t>
              </a:r>
            </a:p>
            <a:p>
              <a:pPr marL="171450" indent="-171450">
                <a:buFont typeface="Arial" panose="020B0604020202020204" pitchFamily="34" charset="0"/>
                <a:buChar char="•"/>
              </a:pPr>
              <a:r>
                <a:rPr lang="en-US" sz="1200" dirty="0"/>
                <a:t>Q-coaching</a:t>
              </a:r>
            </a:p>
            <a:p>
              <a:pPr marL="171450" indent="-171450">
                <a:buFont typeface="Arial" panose="020B0604020202020204" pitchFamily="34" charset="0"/>
                <a:buChar char="•"/>
              </a:pPr>
              <a:r>
                <a:rPr lang="en-US" sz="1200" dirty="0"/>
                <a:t>Auditor coaching</a:t>
              </a:r>
            </a:p>
          </p:txBody>
        </p:sp>
        <p:sp>
          <p:nvSpPr>
            <p:cNvPr id="28" name="Textfeld 32">
              <a:extLst>
                <a:ext uri="{FF2B5EF4-FFF2-40B4-BE49-F238E27FC236}">
                  <a16:creationId xmlns:a16="http://schemas.microsoft.com/office/drawing/2014/main" id="{15AD0C2C-FA04-4DC3-8F10-70E639EB09AC}"/>
                </a:ext>
              </a:extLst>
            </p:cNvPr>
            <p:cNvSpPr txBox="1"/>
            <p:nvPr>
              <p:custDataLst>
                <p:tags r:id="rId21"/>
              </p:custDataLst>
            </p:nvPr>
          </p:nvSpPr>
          <p:spPr bwMode="gray">
            <a:xfrm>
              <a:off x="6903720" y="3054350"/>
              <a:ext cx="2285999" cy="381000"/>
            </a:xfrm>
            <a:prstGeom prst="rect">
              <a:avLst/>
            </a:prstGeom>
          </p:spPr>
          <p:txBody>
            <a:bodyPr vert="horz" wrap="square" lIns="0" tIns="0" rIns="0" bIns="0" rtlCol="0">
              <a:noAutofit/>
            </a:bodyPr>
            <a:lstStyle/>
            <a:p>
              <a:r>
                <a:rPr lang="en-US" sz="1200" b="1" dirty="0"/>
                <a:t>Quality during development</a:t>
              </a:r>
            </a:p>
            <a:p>
              <a:pPr marL="171450" indent="-171450">
                <a:buFont typeface="Arial" panose="020B0604020202020204" pitchFamily="34" charset="0"/>
                <a:buChar char="•"/>
              </a:pPr>
              <a:r>
                <a:rPr lang="en-US" sz="1200" dirty="0"/>
                <a:t>Risk management</a:t>
              </a:r>
            </a:p>
            <a:p>
              <a:pPr marL="171450" indent="-171450">
                <a:buFont typeface="Arial" panose="020B0604020202020204" pitchFamily="34" charset="0"/>
                <a:buChar char="•"/>
              </a:pPr>
              <a:r>
                <a:rPr lang="en-US" sz="1200" dirty="0"/>
                <a:t>customer orientation</a:t>
              </a:r>
            </a:p>
          </p:txBody>
        </p:sp>
        <p:sp>
          <p:nvSpPr>
            <p:cNvPr id="29" name="Textfeld 33">
              <a:extLst>
                <a:ext uri="{FF2B5EF4-FFF2-40B4-BE49-F238E27FC236}">
                  <a16:creationId xmlns:a16="http://schemas.microsoft.com/office/drawing/2014/main" id="{44618890-1EE2-4C2B-90E1-08F7694031B2}"/>
                </a:ext>
              </a:extLst>
            </p:cNvPr>
            <p:cNvSpPr txBox="1"/>
            <p:nvPr>
              <p:custDataLst>
                <p:tags r:id="rId22"/>
              </p:custDataLst>
            </p:nvPr>
          </p:nvSpPr>
          <p:spPr bwMode="gray">
            <a:xfrm>
              <a:off x="800735" y="3838575"/>
              <a:ext cx="1668145" cy="381000"/>
            </a:xfrm>
            <a:prstGeom prst="rect">
              <a:avLst/>
            </a:prstGeom>
          </p:spPr>
          <p:txBody>
            <a:bodyPr vert="horz" wrap="square" lIns="0" tIns="0" rIns="0" bIns="0" rtlCol="0">
              <a:noAutofit/>
            </a:bodyPr>
            <a:lstStyle/>
            <a:p>
              <a:r>
                <a:rPr lang="en-US" sz="1200" b="1" dirty="0"/>
                <a:t>Quality adjustment</a:t>
              </a:r>
            </a:p>
            <a:p>
              <a:pPr marL="285750" indent="-285750">
                <a:buFont typeface="Arial" panose="020B0604020202020204" pitchFamily="34" charset="0"/>
                <a:buChar char="•"/>
              </a:pPr>
              <a:r>
                <a:rPr lang="en-US" sz="1200" dirty="0"/>
                <a:t>Reporting</a:t>
              </a:r>
            </a:p>
            <a:p>
              <a:pPr marL="285750" indent="-285750">
                <a:buFont typeface="Arial" panose="020B0604020202020204" pitchFamily="34" charset="0"/>
                <a:buChar char="•"/>
              </a:pPr>
              <a:r>
                <a:rPr lang="en-US" sz="1200" dirty="0"/>
                <a:t>KPI measurement</a:t>
              </a:r>
            </a:p>
            <a:p>
              <a:pPr marL="285750" indent="-285750">
                <a:buFont typeface="Arial" panose="020B0604020202020204" pitchFamily="34" charset="0"/>
                <a:buChar char="•"/>
              </a:pPr>
              <a:r>
                <a:rPr lang="en-US" sz="1200" dirty="0"/>
                <a:t>Quality cost</a:t>
              </a:r>
            </a:p>
          </p:txBody>
        </p:sp>
        <p:sp>
          <p:nvSpPr>
            <p:cNvPr id="30" name="Line 8">
              <a:extLst>
                <a:ext uri="{FF2B5EF4-FFF2-40B4-BE49-F238E27FC236}">
                  <a16:creationId xmlns:a16="http://schemas.microsoft.com/office/drawing/2014/main" id="{8FEC3D4D-AB7A-4449-A7FD-6F2F7B563655}"/>
                </a:ext>
              </a:extLst>
            </p:cNvPr>
            <p:cNvSpPr>
              <a:spLocks noChangeShapeType="1"/>
            </p:cNvSpPr>
            <p:nvPr>
              <p:custDataLst>
                <p:tags r:id="rId23"/>
              </p:custDataLst>
            </p:nvPr>
          </p:nvSpPr>
          <p:spPr bwMode="auto">
            <a:xfrm flipH="1">
              <a:off x="822960" y="4021456"/>
              <a:ext cx="15341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31" name="Line 8">
              <a:extLst>
                <a:ext uri="{FF2B5EF4-FFF2-40B4-BE49-F238E27FC236}">
                  <a16:creationId xmlns:a16="http://schemas.microsoft.com/office/drawing/2014/main" id="{0A32FA63-7801-4AA8-B65E-636BAEA72868}"/>
                </a:ext>
              </a:extLst>
            </p:cNvPr>
            <p:cNvSpPr>
              <a:spLocks noChangeShapeType="1"/>
            </p:cNvSpPr>
            <p:nvPr>
              <p:custDataLst>
                <p:tags r:id="rId24"/>
              </p:custDataLst>
            </p:nvPr>
          </p:nvSpPr>
          <p:spPr bwMode="auto">
            <a:xfrm flipV="1">
              <a:off x="4927600" y="6018213"/>
              <a:ext cx="28041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32" name="Line 8">
              <a:extLst>
                <a:ext uri="{FF2B5EF4-FFF2-40B4-BE49-F238E27FC236}">
                  <a16:creationId xmlns:a16="http://schemas.microsoft.com/office/drawing/2014/main" id="{6AF8911A-F93F-477B-BBC3-80CF530EFB0D}"/>
                </a:ext>
              </a:extLst>
            </p:cNvPr>
            <p:cNvSpPr>
              <a:spLocks noChangeShapeType="1"/>
            </p:cNvSpPr>
            <p:nvPr>
              <p:custDataLst>
                <p:tags r:id="rId25"/>
              </p:custDataLst>
            </p:nvPr>
          </p:nvSpPr>
          <p:spPr bwMode="auto">
            <a:xfrm flipV="1">
              <a:off x="6196965" y="5380673"/>
              <a:ext cx="2073276"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33" name="Gebogener Pfeil 37">
              <a:extLst>
                <a:ext uri="{FF2B5EF4-FFF2-40B4-BE49-F238E27FC236}">
                  <a16:creationId xmlns:a16="http://schemas.microsoft.com/office/drawing/2014/main" id="{20123E4F-A104-4550-A61C-A061204608E1}"/>
                </a:ext>
              </a:extLst>
            </p:cNvPr>
            <p:cNvSpPr/>
            <p:nvPr>
              <p:custDataLst>
                <p:tags r:id="rId26"/>
              </p:custDataLst>
            </p:nvPr>
          </p:nvSpPr>
          <p:spPr bwMode="auto">
            <a:xfrm>
              <a:off x="2240916" y="1439545"/>
              <a:ext cx="4680000" cy="4680000"/>
            </a:xfrm>
            <a:prstGeom prst="circularArrow">
              <a:avLst>
                <a:gd name="adj1" fmla="val 5616"/>
                <a:gd name="adj2" fmla="val 143064"/>
                <a:gd name="adj3" fmla="val 16038954"/>
                <a:gd name="adj4" fmla="val 14323550"/>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34" name="Gebogener Pfeil 38">
              <a:extLst>
                <a:ext uri="{FF2B5EF4-FFF2-40B4-BE49-F238E27FC236}">
                  <a16:creationId xmlns:a16="http://schemas.microsoft.com/office/drawing/2014/main" id="{968A70C7-EE46-4A76-9E0D-41ED79657A00}"/>
                </a:ext>
              </a:extLst>
            </p:cNvPr>
            <p:cNvSpPr/>
            <p:nvPr>
              <p:custDataLst>
                <p:tags r:id="rId27"/>
              </p:custDataLst>
            </p:nvPr>
          </p:nvSpPr>
          <p:spPr bwMode="auto">
            <a:xfrm>
              <a:off x="2240916" y="1439545"/>
              <a:ext cx="4680000" cy="4680000"/>
            </a:xfrm>
            <a:prstGeom prst="circularArrow">
              <a:avLst>
                <a:gd name="adj1" fmla="val 5616"/>
                <a:gd name="adj2" fmla="val 143064"/>
                <a:gd name="adj3" fmla="val 12963123"/>
                <a:gd name="adj4" fmla="val 12470830"/>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35" name="Line 8">
              <a:extLst>
                <a:ext uri="{FF2B5EF4-FFF2-40B4-BE49-F238E27FC236}">
                  <a16:creationId xmlns:a16="http://schemas.microsoft.com/office/drawing/2014/main" id="{07E270B0-EBB3-4B37-86D5-916AD7B66E4C}"/>
                </a:ext>
              </a:extLst>
            </p:cNvPr>
            <p:cNvSpPr>
              <a:spLocks noChangeShapeType="1"/>
            </p:cNvSpPr>
            <p:nvPr>
              <p:custDataLst>
                <p:tags r:id="rId28"/>
              </p:custDataLst>
            </p:nvPr>
          </p:nvSpPr>
          <p:spPr bwMode="auto">
            <a:xfrm>
              <a:off x="6734175" y="3238500"/>
              <a:ext cx="2159000" cy="635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36" name="Line 8">
              <a:extLst>
                <a:ext uri="{FF2B5EF4-FFF2-40B4-BE49-F238E27FC236}">
                  <a16:creationId xmlns:a16="http://schemas.microsoft.com/office/drawing/2014/main" id="{68A43F2C-0B88-4479-9F44-6A0EB6AE2EBD}"/>
                </a:ext>
              </a:extLst>
            </p:cNvPr>
            <p:cNvSpPr>
              <a:spLocks noChangeShapeType="1"/>
            </p:cNvSpPr>
            <p:nvPr>
              <p:custDataLst>
                <p:tags r:id="rId29"/>
              </p:custDataLst>
            </p:nvPr>
          </p:nvSpPr>
          <p:spPr bwMode="auto">
            <a:xfrm>
              <a:off x="4795521" y="1477645"/>
              <a:ext cx="2672079"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37" name="Pfeil nach rechts 41">
              <a:extLst>
                <a:ext uri="{FF2B5EF4-FFF2-40B4-BE49-F238E27FC236}">
                  <a16:creationId xmlns:a16="http://schemas.microsoft.com/office/drawing/2014/main" id="{E2E45E3F-1EC2-40B1-BD65-FC9AAF83EE60}"/>
                </a:ext>
              </a:extLst>
            </p:cNvPr>
            <p:cNvSpPr/>
            <p:nvPr>
              <p:custDataLst>
                <p:tags r:id="rId30"/>
              </p:custDataLst>
            </p:nvPr>
          </p:nvSpPr>
          <p:spPr bwMode="auto">
            <a:xfrm>
              <a:off x="446088" y="5713485"/>
              <a:ext cx="324000" cy="144000"/>
            </a:xfrm>
            <a:prstGeom prst="rightArrow">
              <a:avLst>
                <a:gd name="adj1" fmla="val 100000"/>
                <a:gd name="adj2" fmla="val 50000"/>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38" name="Pfeil nach rechts 42">
              <a:extLst>
                <a:ext uri="{FF2B5EF4-FFF2-40B4-BE49-F238E27FC236}">
                  <a16:creationId xmlns:a16="http://schemas.microsoft.com/office/drawing/2014/main" id="{C1FA78DC-558D-4D60-8270-F1ECEF03849D}"/>
                </a:ext>
              </a:extLst>
            </p:cNvPr>
            <p:cNvSpPr/>
            <p:nvPr>
              <p:custDataLst>
                <p:tags r:id="rId31"/>
              </p:custDataLst>
            </p:nvPr>
          </p:nvSpPr>
          <p:spPr bwMode="auto">
            <a:xfrm>
              <a:off x="446088" y="5997013"/>
              <a:ext cx="324000" cy="144000"/>
            </a:xfrm>
            <a:prstGeom prst="rightArrow">
              <a:avLst>
                <a:gd name="adj1" fmla="val 100000"/>
                <a:gd name="adj2" fmla="val 50000"/>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solidFill>
                  <a:schemeClr val="bg1"/>
                </a:solidFill>
              </a:endParaRPr>
            </a:p>
          </p:txBody>
        </p:sp>
        <p:sp>
          <p:nvSpPr>
            <p:cNvPr id="39" name="Textfeld 43">
              <a:extLst>
                <a:ext uri="{FF2B5EF4-FFF2-40B4-BE49-F238E27FC236}">
                  <a16:creationId xmlns:a16="http://schemas.microsoft.com/office/drawing/2014/main" id="{0F997F67-3B90-4C0B-B240-97A48E8DB5A1}"/>
                </a:ext>
              </a:extLst>
            </p:cNvPr>
            <p:cNvSpPr txBox="1"/>
            <p:nvPr>
              <p:custDataLst>
                <p:tags r:id="rId32"/>
              </p:custDataLst>
            </p:nvPr>
          </p:nvSpPr>
          <p:spPr bwMode="gray">
            <a:xfrm>
              <a:off x="843280" y="5643245"/>
              <a:ext cx="1554480" cy="284480"/>
            </a:xfrm>
            <a:prstGeom prst="rect">
              <a:avLst/>
            </a:prstGeom>
          </p:spPr>
          <p:txBody>
            <a:bodyPr vert="horz" wrap="square" lIns="0" tIns="0" rIns="0" bIns="0" rtlCol="0" anchor="ctr">
              <a:noAutofit/>
            </a:bodyPr>
            <a:lstStyle/>
            <a:p>
              <a:r>
                <a:rPr lang="en-US" sz="1100" dirty="0"/>
                <a:t>Q-Process</a:t>
              </a:r>
            </a:p>
          </p:txBody>
        </p:sp>
        <p:sp>
          <p:nvSpPr>
            <p:cNvPr id="40" name="Textfeld 44">
              <a:extLst>
                <a:ext uri="{FF2B5EF4-FFF2-40B4-BE49-F238E27FC236}">
                  <a16:creationId xmlns:a16="http://schemas.microsoft.com/office/drawing/2014/main" id="{023C524F-54C9-4763-BE6A-CF2B741BB9BB}"/>
                </a:ext>
              </a:extLst>
            </p:cNvPr>
            <p:cNvSpPr txBox="1"/>
            <p:nvPr>
              <p:custDataLst>
                <p:tags r:id="rId33"/>
              </p:custDataLst>
            </p:nvPr>
          </p:nvSpPr>
          <p:spPr bwMode="gray">
            <a:xfrm>
              <a:off x="843280" y="5926773"/>
              <a:ext cx="1554480" cy="284480"/>
            </a:xfrm>
            <a:prstGeom prst="rect">
              <a:avLst/>
            </a:prstGeom>
          </p:spPr>
          <p:txBody>
            <a:bodyPr vert="horz" wrap="square" lIns="0" tIns="0" rIns="0" bIns="0" rtlCol="0" anchor="ctr">
              <a:noAutofit/>
            </a:bodyPr>
            <a:lstStyle/>
            <a:p>
              <a:r>
                <a:rPr lang="en-US" sz="1100" dirty="0"/>
                <a:t>QHSE-Process</a:t>
              </a:r>
            </a:p>
          </p:txBody>
        </p:sp>
        <p:sp>
          <p:nvSpPr>
            <p:cNvPr id="41" name="Gebogener Pfeil 45">
              <a:extLst>
                <a:ext uri="{FF2B5EF4-FFF2-40B4-BE49-F238E27FC236}">
                  <a16:creationId xmlns:a16="http://schemas.microsoft.com/office/drawing/2014/main" id="{42D5EA03-0363-46C2-B82B-D5EF65395F26}"/>
                </a:ext>
              </a:extLst>
            </p:cNvPr>
            <p:cNvSpPr/>
            <p:nvPr>
              <p:custDataLst>
                <p:tags r:id="rId34"/>
              </p:custDataLst>
            </p:nvPr>
          </p:nvSpPr>
          <p:spPr bwMode="auto">
            <a:xfrm>
              <a:off x="2240916" y="1439545"/>
              <a:ext cx="4680000" cy="4680000"/>
            </a:xfrm>
            <a:prstGeom prst="circularArrow">
              <a:avLst>
                <a:gd name="adj1" fmla="val 5616"/>
                <a:gd name="adj2" fmla="val 143064"/>
                <a:gd name="adj3" fmla="val 11612634"/>
                <a:gd name="adj4" fmla="val 10822907"/>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42" name="Gebogener Pfeil 46">
              <a:extLst>
                <a:ext uri="{FF2B5EF4-FFF2-40B4-BE49-F238E27FC236}">
                  <a16:creationId xmlns:a16="http://schemas.microsoft.com/office/drawing/2014/main" id="{8AC8EC86-650A-463F-A371-6D458BC4E721}"/>
                </a:ext>
              </a:extLst>
            </p:cNvPr>
            <p:cNvSpPr/>
            <p:nvPr>
              <p:custDataLst>
                <p:tags r:id="rId35"/>
              </p:custDataLst>
            </p:nvPr>
          </p:nvSpPr>
          <p:spPr bwMode="auto">
            <a:xfrm>
              <a:off x="2240916" y="1439545"/>
              <a:ext cx="4680000" cy="4680000"/>
            </a:xfrm>
            <a:prstGeom prst="circularArrow">
              <a:avLst>
                <a:gd name="adj1" fmla="val 5616"/>
                <a:gd name="adj2" fmla="val 143064"/>
                <a:gd name="adj3" fmla="val 7449300"/>
                <a:gd name="adj4" fmla="val 5424866"/>
                <a:gd name="adj5" fmla="val 2808"/>
              </a:avLst>
            </a:prstGeom>
            <a:solidFill>
              <a:schemeClr val="accent2"/>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43" name="Gebogener Pfeil 47">
              <a:extLst>
                <a:ext uri="{FF2B5EF4-FFF2-40B4-BE49-F238E27FC236}">
                  <a16:creationId xmlns:a16="http://schemas.microsoft.com/office/drawing/2014/main" id="{F9EE3788-40E1-4B76-8234-4C98F9CDE576}"/>
                </a:ext>
              </a:extLst>
            </p:cNvPr>
            <p:cNvSpPr/>
            <p:nvPr>
              <p:custDataLst>
                <p:tags r:id="rId36"/>
              </p:custDataLst>
            </p:nvPr>
          </p:nvSpPr>
          <p:spPr bwMode="auto">
            <a:xfrm>
              <a:off x="2240916" y="1439545"/>
              <a:ext cx="4680000" cy="4680000"/>
            </a:xfrm>
            <a:prstGeom prst="circularArrow">
              <a:avLst>
                <a:gd name="adj1" fmla="val 5616"/>
                <a:gd name="adj2" fmla="val 143064"/>
                <a:gd name="adj3" fmla="val 9214420"/>
                <a:gd name="adj4" fmla="val 7655462"/>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44" name="Textfeld 48">
              <a:extLst>
                <a:ext uri="{FF2B5EF4-FFF2-40B4-BE49-F238E27FC236}">
                  <a16:creationId xmlns:a16="http://schemas.microsoft.com/office/drawing/2014/main" id="{355D5066-13E8-4261-BB85-0AD5D045D8A2}"/>
                </a:ext>
              </a:extLst>
            </p:cNvPr>
            <p:cNvSpPr txBox="1"/>
            <p:nvPr>
              <p:custDataLst>
                <p:tags r:id="rId37"/>
              </p:custDataLst>
            </p:nvPr>
          </p:nvSpPr>
          <p:spPr bwMode="gray">
            <a:xfrm>
              <a:off x="1289050" y="4996180"/>
              <a:ext cx="1668145" cy="381000"/>
            </a:xfrm>
            <a:prstGeom prst="rect">
              <a:avLst/>
            </a:prstGeom>
          </p:spPr>
          <p:txBody>
            <a:bodyPr vert="horz" wrap="square" lIns="0" tIns="0" rIns="0" bIns="0" rtlCol="0">
              <a:noAutofit/>
            </a:bodyPr>
            <a:lstStyle/>
            <a:p>
              <a:r>
                <a:rPr lang="en-US" sz="1200" b="1" dirty="0"/>
                <a:t>CAPA</a:t>
              </a:r>
            </a:p>
            <a:p>
              <a:pPr marL="285750" indent="-285750">
                <a:buFont typeface="Arial" panose="020B0604020202020204" pitchFamily="34" charset="0"/>
                <a:buChar char="•"/>
              </a:pPr>
              <a:r>
                <a:rPr lang="en-US" sz="1200" dirty="0"/>
                <a:t>correction action</a:t>
              </a:r>
            </a:p>
          </p:txBody>
        </p:sp>
        <p:sp>
          <p:nvSpPr>
            <p:cNvPr id="45" name="Line 8">
              <a:extLst>
                <a:ext uri="{FF2B5EF4-FFF2-40B4-BE49-F238E27FC236}">
                  <a16:creationId xmlns:a16="http://schemas.microsoft.com/office/drawing/2014/main" id="{4F4A7098-9B94-4BC0-9047-AB14C0D6F23A}"/>
                </a:ext>
              </a:extLst>
            </p:cNvPr>
            <p:cNvSpPr>
              <a:spLocks noChangeShapeType="1"/>
            </p:cNvSpPr>
            <p:nvPr>
              <p:custDataLst>
                <p:tags r:id="rId38"/>
              </p:custDataLst>
            </p:nvPr>
          </p:nvSpPr>
          <p:spPr bwMode="auto">
            <a:xfrm flipH="1">
              <a:off x="1311275" y="5179061"/>
              <a:ext cx="15341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46" name="Textfeld 50">
              <a:extLst>
                <a:ext uri="{FF2B5EF4-FFF2-40B4-BE49-F238E27FC236}">
                  <a16:creationId xmlns:a16="http://schemas.microsoft.com/office/drawing/2014/main" id="{93C90A2D-9DB6-4E9D-84E5-1038AE086FBD}"/>
                </a:ext>
              </a:extLst>
            </p:cNvPr>
            <p:cNvSpPr txBox="1"/>
            <p:nvPr>
              <p:custDataLst>
                <p:tags r:id="rId39"/>
              </p:custDataLst>
            </p:nvPr>
          </p:nvSpPr>
          <p:spPr bwMode="gray">
            <a:xfrm>
              <a:off x="2680335" y="5837873"/>
              <a:ext cx="1668145" cy="381000"/>
            </a:xfrm>
            <a:prstGeom prst="rect">
              <a:avLst/>
            </a:prstGeom>
          </p:spPr>
          <p:txBody>
            <a:bodyPr vert="horz" wrap="square" lIns="0" tIns="0" rIns="0" bIns="0" rtlCol="0">
              <a:noAutofit/>
            </a:bodyPr>
            <a:lstStyle/>
            <a:p>
              <a:r>
                <a:rPr lang="en-US" sz="1200" b="1" dirty="0"/>
                <a:t>Expert advise</a:t>
              </a:r>
            </a:p>
            <a:p>
              <a:pPr marL="285750" indent="-285750">
                <a:buFont typeface="Arial" panose="020B0604020202020204" pitchFamily="34" charset="0"/>
                <a:buChar char="•"/>
              </a:pPr>
              <a:r>
                <a:rPr lang="en-US" sz="1200" dirty="0"/>
                <a:t>Audit Experts</a:t>
              </a:r>
            </a:p>
          </p:txBody>
        </p:sp>
        <p:sp>
          <p:nvSpPr>
            <p:cNvPr id="47" name="Line 8">
              <a:extLst>
                <a:ext uri="{FF2B5EF4-FFF2-40B4-BE49-F238E27FC236}">
                  <a16:creationId xmlns:a16="http://schemas.microsoft.com/office/drawing/2014/main" id="{ECB84E3B-507A-43B2-B125-1BD9F4D6B33C}"/>
                </a:ext>
              </a:extLst>
            </p:cNvPr>
            <p:cNvSpPr>
              <a:spLocks noChangeShapeType="1"/>
            </p:cNvSpPr>
            <p:nvPr>
              <p:custDataLst>
                <p:tags r:id="rId40"/>
              </p:custDataLst>
            </p:nvPr>
          </p:nvSpPr>
          <p:spPr bwMode="auto">
            <a:xfrm flipH="1">
              <a:off x="2702560" y="6020754"/>
              <a:ext cx="15341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48" name="Line 8">
              <a:extLst>
                <a:ext uri="{FF2B5EF4-FFF2-40B4-BE49-F238E27FC236}">
                  <a16:creationId xmlns:a16="http://schemas.microsoft.com/office/drawing/2014/main" id="{C11F3FAC-6DE0-4CEA-BC97-3F1CA596D80A}"/>
                </a:ext>
              </a:extLst>
            </p:cNvPr>
            <p:cNvSpPr>
              <a:spLocks noChangeShapeType="1"/>
            </p:cNvSpPr>
            <p:nvPr>
              <p:custDataLst>
                <p:tags r:id="rId41"/>
              </p:custDataLst>
            </p:nvPr>
          </p:nvSpPr>
          <p:spPr bwMode="auto">
            <a:xfrm flipH="1">
              <a:off x="446088" y="3251200"/>
              <a:ext cx="1982152" cy="4446"/>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49" name="Line 8">
              <a:extLst>
                <a:ext uri="{FF2B5EF4-FFF2-40B4-BE49-F238E27FC236}">
                  <a16:creationId xmlns:a16="http://schemas.microsoft.com/office/drawing/2014/main" id="{2F9F33E2-18BD-4804-A441-E1DD7CC2CB81}"/>
                </a:ext>
              </a:extLst>
            </p:cNvPr>
            <p:cNvSpPr>
              <a:spLocks noChangeShapeType="1"/>
            </p:cNvSpPr>
            <p:nvPr>
              <p:custDataLst>
                <p:tags r:id="rId42"/>
              </p:custDataLst>
            </p:nvPr>
          </p:nvSpPr>
          <p:spPr bwMode="auto">
            <a:xfrm flipH="1">
              <a:off x="965835" y="2242186"/>
              <a:ext cx="19913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50" name="Textfeld 54">
              <a:extLst>
                <a:ext uri="{FF2B5EF4-FFF2-40B4-BE49-F238E27FC236}">
                  <a16:creationId xmlns:a16="http://schemas.microsoft.com/office/drawing/2014/main" id="{7F4C98EF-47DA-4ABA-AA00-0F5BD2DCBA9D}"/>
                </a:ext>
              </a:extLst>
            </p:cNvPr>
            <p:cNvSpPr txBox="1"/>
            <p:nvPr>
              <p:custDataLst>
                <p:tags r:id="rId43"/>
              </p:custDataLst>
            </p:nvPr>
          </p:nvSpPr>
          <p:spPr bwMode="gray">
            <a:xfrm>
              <a:off x="965835" y="2061210"/>
              <a:ext cx="1576705" cy="381000"/>
            </a:xfrm>
            <a:prstGeom prst="rect">
              <a:avLst/>
            </a:prstGeom>
          </p:spPr>
          <p:txBody>
            <a:bodyPr vert="horz" wrap="square" lIns="0" tIns="0" rIns="0" bIns="0" rtlCol="0">
              <a:noAutofit/>
            </a:bodyPr>
            <a:lstStyle/>
            <a:p>
              <a:r>
                <a:rPr lang="en-US" sz="1200" b="1" dirty="0"/>
                <a:t>Q-objective</a:t>
              </a:r>
            </a:p>
            <a:p>
              <a:pPr marL="285750" indent="-285750">
                <a:buFont typeface="Arial" panose="020B0604020202020204" pitchFamily="34" charset="0"/>
                <a:buChar char="•"/>
              </a:pPr>
              <a:endParaRPr lang="en-US" sz="1200" dirty="0"/>
            </a:p>
          </p:txBody>
        </p:sp>
        <p:sp>
          <p:nvSpPr>
            <p:cNvPr id="51" name="Gebogener Pfeil 56">
              <a:extLst>
                <a:ext uri="{FF2B5EF4-FFF2-40B4-BE49-F238E27FC236}">
                  <a16:creationId xmlns:a16="http://schemas.microsoft.com/office/drawing/2014/main" id="{B88951A3-CA74-480C-9D61-ECAAAA36F6CF}"/>
                </a:ext>
              </a:extLst>
            </p:cNvPr>
            <p:cNvSpPr/>
            <p:nvPr>
              <p:custDataLst>
                <p:tags r:id="rId44"/>
              </p:custDataLst>
            </p:nvPr>
          </p:nvSpPr>
          <p:spPr bwMode="auto">
            <a:xfrm>
              <a:off x="2240916" y="1439545"/>
              <a:ext cx="4680000" cy="4680000"/>
            </a:xfrm>
            <a:prstGeom prst="circularArrow">
              <a:avLst>
                <a:gd name="adj1" fmla="val 5616"/>
                <a:gd name="adj2" fmla="val 143064"/>
                <a:gd name="adj3" fmla="val 20076911"/>
                <a:gd name="adj4" fmla="val 18376172"/>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52" name="Line 8">
              <a:extLst>
                <a:ext uri="{FF2B5EF4-FFF2-40B4-BE49-F238E27FC236}">
                  <a16:creationId xmlns:a16="http://schemas.microsoft.com/office/drawing/2014/main" id="{9126FE8F-4C71-4BB7-AE0D-8A9BF9E3781A}"/>
                </a:ext>
              </a:extLst>
            </p:cNvPr>
            <p:cNvSpPr>
              <a:spLocks noChangeShapeType="1"/>
            </p:cNvSpPr>
            <p:nvPr>
              <p:custDataLst>
                <p:tags r:id="rId45"/>
              </p:custDataLst>
            </p:nvPr>
          </p:nvSpPr>
          <p:spPr bwMode="auto">
            <a:xfrm>
              <a:off x="6306822" y="2466578"/>
              <a:ext cx="1646554" cy="1905"/>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53" name="Gebogener Pfeil 58">
              <a:extLst>
                <a:ext uri="{FF2B5EF4-FFF2-40B4-BE49-F238E27FC236}">
                  <a16:creationId xmlns:a16="http://schemas.microsoft.com/office/drawing/2014/main" id="{53B9F7C6-6CBB-47D5-AA69-475614CCE78F}"/>
                </a:ext>
              </a:extLst>
            </p:cNvPr>
            <p:cNvSpPr/>
            <p:nvPr>
              <p:custDataLst>
                <p:tags r:id="rId46"/>
              </p:custDataLst>
            </p:nvPr>
          </p:nvSpPr>
          <p:spPr bwMode="auto">
            <a:xfrm>
              <a:off x="2240916" y="1439545"/>
              <a:ext cx="4680000" cy="4680000"/>
            </a:xfrm>
            <a:prstGeom prst="circularArrow">
              <a:avLst>
                <a:gd name="adj1" fmla="val 5616"/>
                <a:gd name="adj2" fmla="val 143064"/>
                <a:gd name="adj3" fmla="val 1475147"/>
                <a:gd name="adj4" fmla="val 21594923"/>
                <a:gd name="adj5" fmla="val 2808"/>
              </a:avLst>
            </a:prstGeom>
            <a:solidFill>
              <a:schemeClr val="tx1"/>
            </a:solidFill>
            <a:ln w="9525" cap="flat" algn="ctr">
              <a:noFill/>
              <a:miter lim="800000"/>
              <a:headEnd/>
              <a:tailEnd/>
            </a:ln>
            <a:effectLst>
              <a:outerShdw blurRad="63500" sx="102000" sy="102000" algn="ctr" rotWithShape="0">
                <a:prstClr val="black">
                  <a:alpha val="40000"/>
                </a:prstClr>
              </a:outerShdw>
            </a:effectLst>
          </p:spPr>
          <p:txBody>
            <a:bodyPr vert="horz" wrap="square" lIns="0" tIns="0" rIns="0" bIns="0" numCol="1" rtlCol="0" anchor="ctr" anchorCtr="0" compatLnSpc="1">
              <a:prstTxWarp prst="textNoShape">
                <a:avLst/>
              </a:prstTxWarp>
            </a:bodyPr>
            <a:lstStyle/>
            <a:p>
              <a:pPr algn="ctr"/>
              <a:endParaRPr lang="en-US" dirty="0"/>
            </a:p>
          </p:txBody>
        </p:sp>
        <p:sp>
          <p:nvSpPr>
            <p:cNvPr id="54" name="Textfeld 59">
              <a:extLst>
                <a:ext uri="{FF2B5EF4-FFF2-40B4-BE49-F238E27FC236}">
                  <a16:creationId xmlns:a16="http://schemas.microsoft.com/office/drawing/2014/main" id="{020D7EF1-6240-42B2-AD80-ADD02533F0F3}"/>
                </a:ext>
              </a:extLst>
            </p:cNvPr>
            <p:cNvSpPr txBox="1"/>
            <p:nvPr>
              <p:custDataLst>
                <p:tags r:id="rId47"/>
              </p:custDataLst>
            </p:nvPr>
          </p:nvSpPr>
          <p:spPr bwMode="gray">
            <a:xfrm>
              <a:off x="690880" y="2486025"/>
              <a:ext cx="1576705" cy="381000"/>
            </a:xfrm>
            <a:prstGeom prst="rect">
              <a:avLst/>
            </a:prstGeom>
          </p:spPr>
          <p:txBody>
            <a:bodyPr vert="horz" wrap="square" lIns="0" tIns="0" rIns="0" bIns="0" rtlCol="0">
              <a:noAutofit/>
            </a:bodyPr>
            <a:lstStyle/>
            <a:p>
              <a:r>
                <a:rPr lang="en-US" sz="1200" b="1" dirty="0"/>
                <a:t>Quality planning</a:t>
              </a:r>
            </a:p>
            <a:p>
              <a:pPr marL="285750" indent="-285750">
                <a:buFont typeface="Arial" panose="020B0604020202020204" pitchFamily="34" charset="0"/>
                <a:buChar char="•"/>
              </a:pPr>
              <a:r>
                <a:rPr lang="en-US" sz="1200" dirty="0"/>
                <a:t>Q-Strategy</a:t>
              </a:r>
            </a:p>
            <a:p>
              <a:pPr marL="285750" indent="-285750">
                <a:buFont typeface="Arial" panose="020B0604020202020204" pitchFamily="34" charset="0"/>
                <a:buChar char="•"/>
              </a:pPr>
              <a:r>
                <a:rPr lang="en-US" sz="1200" dirty="0"/>
                <a:t>Audit planning</a:t>
              </a:r>
            </a:p>
          </p:txBody>
        </p:sp>
        <p:sp>
          <p:nvSpPr>
            <p:cNvPr id="55" name="Line 8">
              <a:extLst>
                <a:ext uri="{FF2B5EF4-FFF2-40B4-BE49-F238E27FC236}">
                  <a16:creationId xmlns:a16="http://schemas.microsoft.com/office/drawing/2014/main" id="{58418DFA-8CA0-457B-95C6-B0F668012A4D}"/>
                </a:ext>
              </a:extLst>
            </p:cNvPr>
            <p:cNvSpPr>
              <a:spLocks noChangeShapeType="1"/>
            </p:cNvSpPr>
            <p:nvPr>
              <p:custDataLst>
                <p:tags r:id="rId48"/>
              </p:custDataLst>
            </p:nvPr>
          </p:nvSpPr>
          <p:spPr bwMode="auto">
            <a:xfrm flipH="1">
              <a:off x="672465" y="2667001"/>
              <a:ext cx="199136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56" name="Line 8">
              <a:extLst>
                <a:ext uri="{FF2B5EF4-FFF2-40B4-BE49-F238E27FC236}">
                  <a16:creationId xmlns:a16="http://schemas.microsoft.com/office/drawing/2014/main" id="{81A2FEBE-8E32-452C-816E-6D3030FB9CEC}"/>
                </a:ext>
              </a:extLst>
            </p:cNvPr>
            <p:cNvSpPr>
              <a:spLocks noChangeShapeType="1"/>
            </p:cNvSpPr>
            <p:nvPr>
              <p:custDataLst>
                <p:tags r:id="rId49"/>
              </p:custDataLst>
            </p:nvPr>
          </p:nvSpPr>
          <p:spPr bwMode="auto">
            <a:xfrm>
              <a:off x="6776085" y="3980497"/>
              <a:ext cx="1888490"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sp>
          <p:nvSpPr>
            <p:cNvPr id="57" name="Line 8">
              <a:extLst>
                <a:ext uri="{FF2B5EF4-FFF2-40B4-BE49-F238E27FC236}">
                  <a16:creationId xmlns:a16="http://schemas.microsoft.com/office/drawing/2014/main" id="{734E8609-F671-44C2-AB0F-95EE67D2A561}"/>
                </a:ext>
              </a:extLst>
            </p:cNvPr>
            <p:cNvSpPr>
              <a:spLocks noChangeShapeType="1"/>
            </p:cNvSpPr>
            <p:nvPr>
              <p:custDataLst>
                <p:tags r:id="rId50"/>
              </p:custDataLst>
            </p:nvPr>
          </p:nvSpPr>
          <p:spPr bwMode="auto">
            <a:xfrm flipH="1" flipV="1">
              <a:off x="1635759" y="1487805"/>
              <a:ext cx="2733039" cy="0"/>
            </a:xfrm>
            <a:prstGeom prst="line">
              <a:avLst/>
            </a:prstGeom>
            <a:noFill/>
            <a:ln w="19050">
              <a:solidFill>
                <a:schemeClr val="tx2"/>
              </a:solidFill>
              <a:round/>
              <a:headEnd type="oval"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chor="ctr">
              <a:spAutoFit/>
            </a:bodyPr>
            <a:lstStyle/>
            <a:p>
              <a:endParaRPr lang="de-DE"/>
            </a:p>
          </p:txBody>
        </p:sp>
      </p:grpSp>
    </p:spTree>
    <p:extLst>
      <p:ext uri="{BB962C8B-B14F-4D97-AF65-F5344CB8AC3E}">
        <p14:creationId xmlns:p14="http://schemas.microsoft.com/office/powerpoint/2010/main" val="352243239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A152F-691D-47D7-A2EE-8C34ACA67906}"/>
              </a:ext>
            </a:extLst>
          </p:cNvPr>
          <p:cNvSpPr>
            <a:spLocks noGrp="1"/>
          </p:cNvSpPr>
          <p:nvPr>
            <p:ph type="title"/>
          </p:nvPr>
        </p:nvSpPr>
        <p:spPr/>
        <p:txBody>
          <a:bodyPr/>
          <a:lstStyle/>
          <a:p>
            <a:r>
              <a:rPr lang="en-IN" dirty="0"/>
              <a:t>Standard Operating Procedures</a:t>
            </a:r>
          </a:p>
        </p:txBody>
      </p:sp>
      <p:sp>
        <p:nvSpPr>
          <p:cNvPr id="4" name="Date Placeholder 3">
            <a:extLst>
              <a:ext uri="{FF2B5EF4-FFF2-40B4-BE49-F238E27FC236}">
                <a16:creationId xmlns:a16="http://schemas.microsoft.com/office/drawing/2014/main" id="{2596BE8B-B3A5-426F-8DD2-14073B904AD1}"/>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98DC7118-222A-4998-BF0B-AE6036E6A38F}"/>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BCBEE779-2E5F-4DDE-99FC-EEB92BAD39F5}"/>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1</a:t>
            </a:fld>
            <a:endParaRPr lang="en-US" dirty="0">
              <a:solidFill>
                <a:srgbClr val="F79646">
                  <a:lumMod val="75000"/>
                </a:srgbClr>
              </a:solidFill>
            </a:endParaRPr>
          </a:p>
        </p:txBody>
      </p:sp>
      <p:graphicFrame>
        <p:nvGraphicFramePr>
          <p:cNvPr id="7" name="Diagram 6">
            <a:extLst>
              <a:ext uri="{FF2B5EF4-FFF2-40B4-BE49-F238E27FC236}">
                <a16:creationId xmlns:a16="http://schemas.microsoft.com/office/drawing/2014/main" id="{050F546D-02B9-47FC-A63D-B3B27DC02A4C}"/>
              </a:ext>
            </a:extLst>
          </p:cNvPr>
          <p:cNvGraphicFramePr/>
          <p:nvPr>
            <p:extLst>
              <p:ext uri="{D42A27DB-BD31-4B8C-83A1-F6EECF244321}">
                <p14:modId xmlns:p14="http://schemas.microsoft.com/office/powerpoint/2010/main" val="3720356761"/>
              </p:ext>
            </p:extLst>
          </p:nvPr>
        </p:nvGraphicFramePr>
        <p:xfrm>
          <a:off x="806450" y="991829"/>
          <a:ext cx="8108950" cy="5180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Object 7">
            <a:extLst>
              <a:ext uri="{FF2B5EF4-FFF2-40B4-BE49-F238E27FC236}">
                <a16:creationId xmlns:a16="http://schemas.microsoft.com/office/drawing/2014/main" id="{FB6F6127-726D-4D9C-B0DF-D2E295CD6EC0}"/>
              </a:ext>
            </a:extLst>
          </p:cNvPr>
          <p:cNvGraphicFramePr>
            <a:graphicFrameLocks noChangeAspect="1"/>
          </p:cNvGraphicFramePr>
          <p:nvPr>
            <p:extLst>
              <p:ext uri="{D42A27DB-BD31-4B8C-83A1-F6EECF244321}">
                <p14:modId xmlns:p14="http://schemas.microsoft.com/office/powerpoint/2010/main" val="830284586"/>
              </p:ext>
            </p:extLst>
          </p:nvPr>
        </p:nvGraphicFramePr>
        <p:xfrm>
          <a:off x="8991600" y="838200"/>
          <a:ext cx="914400" cy="771525"/>
        </p:xfrm>
        <a:graphic>
          <a:graphicData uri="http://schemas.openxmlformats.org/presentationml/2006/ole">
            <mc:AlternateContent xmlns:mc="http://schemas.openxmlformats.org/markup-compatibility/2006">
              <mc:Choice xmlns:v="urn:schemas-microsoft-com:vml" Requires="v">
                <p:oleObj spid="_x0000_s1033" name="Document" showAsIcon="1" r:id="rId8" imgW="914400" imgH="771480" progId="Word.Document.12">
                  <p:embed/>
                </p:oleObj>
              </mc:Choice>
              <mc:Fallback>
                <p:oleObj name="Document" showAsIcon="1" r:id="rId8" imgW="914400" imgH="771480" progId="Word.Document.12">
                  <p:embed/>
                  <p:pic>
                    <p:nvPicPr>
                      <p:cNvPr id="6" name="Object 5">
                        <a:extLst>
                          <a:ext uri="{FF2B5EF4-FFF2-40B4-BE49-F238E27FC236}">
                            <a16:creationId xmlns:a16="http://schemas.microsoft.com/office/drawing/2014/main" id="{60B36F4E-9E23-4820-BEA1-6ACCE7ADBC36}"/>
                          </a:ext>
                        </a:extLst>
                      </p:cNvPr>
                      <p:cNvPicPr/>
                      <p:nvPr/>
                    </p:nvPicPr>
                    <p:blipFill>
                      <a:blip r:embed="rId9"/>
                      <a:stretch>
                        <a:fillRect/>
                      </a:stretch>
                    </p:blipFill>
                    <p:spPr>
                      <a:xfrm>
                        <a:off x="8991600" y="838200"/>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51283484"/>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BDEFBBF-910C-4854-A1CB-411895E33224}"/>
              </a:ext>
            </a:extLst>
          </p:cNvPr>
          <p:cNvSpPr>
            <a:spLocks noGrp="1"/>
          </p:cNvSpPr>
          <p:nvPr>
            <p:ph type="title"/>
          </p:nvPr>
        </p:nvSpPr>
        <p:spPr/>
        <p:txBody>
          <a:bodyPr/>
          <a:lstStyle/>
          <a:p>
            <a:r>
              <a:rPr lang="en-IN" dirty="0"/>
              <a:t>Plant Walk-Through</a:t>
            </a:r>
          </a:p>
        </p:txBody>
      </p:sp>
      <p:sp>
        <p:nvSpPr>
          <p:cNvPr id="8" name="Text Placeholder 7">
            <a:extLst>
              <a:ext uri="{FF2B5EF4-FFF2-40B4-BE49-F238E27FC236}">
                <a16:creationId xmlns:a16="http://schemas.microsoft.com/office/drawing/2014/main" id="{748D1C62-59F9-4B0B-93CF-B95ED25FBEFE}"/>
              </a:ext>
            </a:extLst>
          </p:cNvPr>
          <p:cNvSpPr>
            <a:spLocks noGrp="1"/>
          </p:cNvSpPr>
          <p:nvPr>
            <p:ph type="body" idx="1"/>
          </p:nvPr>
        </p:nvSpPr>
        <p:spPr/>
        <p:txBody>
          <a:bodyPr/>
          <a:lstStyle/>
          <a:p>
            <a:endParaRPr lang="en-IN"/>
          </a:p>
        </p:txBody>
      </p:sp>
      <p:sp>
        <p:nvSpPr>
          <p:cNvPr id="4" name="Date Placeholder 3">
            <a:extLst>
              <a:ext uri="{FF2B5EF4-FFF2-40B4-BE49-F238E27FC236}">
                <a16:creationId xmlns:a16="http://schemas.microsoft.com/office/drawing/2014/main" id="{49740B66-353A-4A58-950E-CF93F52E0085}"/>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D5CCDB1B-1B66-43F9-8861-BFDAE079658A}"/>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DE73FC34-7DF7-46FB-B41E-7A6E5271DFE3}"/>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2</a:t>
            </a:fld>
            <a:endParaRPr lang="en-US" dirty="0">
              <a:solidFill>
                <a:srgbClr val="F79646">
                  <a:lumMod val="75000"/>
                </a:srgbClr>
              </a:solidFill>
            </a:endParaRPr>
          </a:p>
        </p:txBody>
      </p:sp>
    </p:spTree>
    <p:extLst>
      <p:ext uri="{BB962C8B-B14F-4D97-AF65-F5344CB8AC3E}">
        <p14:creationId xmlns:p14="http://schemas.microsoft.com/office/powerpoint/2010/main" val="2469565807"/>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BF2A502-D1C8-4BC0-B854-5D9837F4589E}"/>
              </a:ext>
            </a:extLst>
          </p:cNvPr>
          <p:cNvSpPr>
            <a:spLocks noGrp="1"/>
          </p:cNvSpPr>
          <p:nvPr>
            <p:ph type="title"/>
          </p:nvPr>
        </p:nvSpPr>
        <p:spPr/>
        <p:txBody>
          <a:bodyPr/>
          <a:lstStyle/>
          <a:p>
            <a:r>
              <a:rPr lang="en-IN" dirty="0"/>
              <a:t>Material Movement </a:t>
            </a:r>
          </a:p>
        </p:txBody>
      </p:sp>
      <p:sp>
        <p:nvSpPr>
          <p:cNvPr id="4" name="Date Placeholder 3">
            <a:extLst>
              <a:ext uri="{FF2B5EF4-FFF2-40B4-BE49-F238E27FC236}">
                <a16:creationId xmlns:a16="http://schemas.microsoft.com/office/drawing/2014/main" id="{FA377064-50DE-4B26-B8F1-05F304CA0AE3}"/>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85566796-7E87-4840-B5AC-773B80F23F95}"/>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D70CC592-3BFE-4B77-B2BC-9274AA8AA853}"/>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3</a:t>
            </a:fld>
            <a:endParaRPr lang="en-US" dirty="0">
              <a:solidFill>
                <a:srgbClr val="F79646">
                  <a:lumMod val="75000"/>
                </a:srgbClr>
              </a:solidFill>
            </a:endParaRPr>
          </a:p>
        </p:txBody>
      </p:sp>
      <p:graphicFrame>
        <p:nvGraphicFramePr>
          <p:cNvPr id="8" name="Content Placeholder 6">
            <a:extLst>
              <a:ext uri="{FF2B5EF4-FFF2-40B4-BE49-F238E27FC236}">
                <a16:creationId xmlns:a16="http://schemas.microsoft.com/office/drawing/2014/main" id="{2169D5F1-DA86-48BC-8792-4D8DECF57DBD}"/>
              </a:ext>
            </a:extLst>
          </p:cNvPr>
          <p:cNvGraphicFramePr>
            <a:graphicFrameLocks/>
          </p:cNvGraphicFramePr>
          <p:nvPr>
            <p:extLst/>
          </p:nvPr>
        </p:nvGraphicFramePr>
        <p:xfrm>
          <a:off x="533400" y="1447800"/>
          <a:ext cx="8451849" cy="4038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78261910"/>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3C52C-43EC-420B-97CC-B95801B8FD31}"/>
              </a:ext>
            </a:extLst>
          </p:cNvPr>
          <p:cNvSpPr>
            <a:spLocks noGrp="1"/>
          </p:cNvSpPr>
          <p:nvPr>
            <p:ph type="title"/>
          </p:nvPr>
        </p:nvSpPr>
        <p:spPr/>
        <p:txBody>
          <a:bodyPr/>
          <a:lstStyle/>
          <a:p>
            <a:r>
              <a:rPr lang="en-IN" dirty="0"/>
              <a:t>Production flow </a:t>
            </a:r>
          </a:p>
        </p:txBody>
      </p:sp>
      <p:sp>
        <p:nvSpPr>
          <p:cNvPr id="3" name="Date Placeholder 2">
            <a:extLst>
              <a:ext uri="{FF2B5EF4-FFF2-40B4-BE49-F238E27FC236}">
                <a16:creationId xmlns:a16="http://schemas.microsoft.com/office/drawing/2014/main" id="{9DEC452E-AA77-45DE-B800-AF4BABD56A8C}"/>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4" name="Footer Placeholder 3">
            <a:extLst>
              <a:ext uri="{FF2B5EF4-FFF2-40B4-BE49-F238E27FC236}">
                <a16:creationId xmlns:a16="http://schemas.microsoft.com/office/drawing/2014/main" id="{1839BA9F-4817-45FC-BEAF-6C32222C72B7}"/>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5" name="Slide Number Placeholder 4">
            <a:extLst>
              <a:ext uri="{FF2B5EF4-FFF2-40B4-BE49-F238E27FC236}">
                <a16:creationId xmlns:a16="http://schemas.microsoft.com/office/drawing/2014/main" id="{40CD5CD2-23D3-4222-A324-65C829DB0723}"/>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4</a:t>
            </a:fld>
            <a:endParaRPr lang="en-US" dirty="0">
              <a:solidFill>
                <a:srgbClr val="F79646">
                  <a:lumMod val="75000"/>
                </a:srgbClr>
              </a:solidFill>
            </a:endParaRPr>
          </a:p>
        </p:txBody>
      </p:sp>
      <p:graphicFrame>
        <p:nvGraphicFramePr>
          <p:cNvPr id="6" name="Content Placeholder 6">
            <a:extLst>
              <a:ext uri="{FF2B5EF4-FFF2-40B4-BE49-F238E27FC236}">
                <a16:creationId xmlns:a16="http://schemas.microsoft.com/office/drawing/2014/main" id="{02905674-E96A-461B-91DD-C986CE0B5349}"/>
              </a:ext>
            </a:extLst>
          </p:cNvPr>
          <p:cNvGraphicFramePr>
            <a:graphicFrameLocks/>
          </p:cNvGraphicFramePr>
          <p:nvPr>
            <p:extLst/>
          </p:nvPr>
        </p:nvGraphicFramePr>
        <p:xfrm>
          <a:off x="381000" y="1219200"/>
          <a:ext cx="91440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970952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4402C-23C6-4ECA-A285-F4D2241C45BD}"/>
              </a:ext>
            </a:extLst>
          </p:cNvPr>
          <p:cNvSpPr>
            <a:spLocks noGrp="1"/>
          </p:cNvSpPr>
          <p:nvPr>
            <p:ph type="title"/>
          </p:nvPr>
        </p:nvSpPr>
        <p:spPr/>
        <p:txBody>
          <a:bodyPr/>
          <a:lstStyle/>
          <a:p>
            <a:r>
              <a:rPr lang="en-IN" dirty="0"/>
              <a:t>Quality control Instrumentation</a:t>
            </a:r>
          </a:p>
        </p:txBody>
      </p:sp>
      <p:sp>
        <p:nvSpPr>
          <p:cNvPr id="3" name="Date Placeholder 2">
            <a:extLst>
              <a:ext uri="{FF2B5EF4-FFF2-40B4-BE49-F238E27FC236}">
                <a16:creationId xmlns:a16="http://schemas.microsoft.com/office/drawing/2014/main" id="{56B5B0AD-17BB-4107-88ED-A1511D774C70}"/>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4" name="Footer Placeholder 3">
            <a:extLst>
              <a:ext uri="{FF2B5EF4-FFF2-40B4-BE49-F238E27FC236}">
                <a16:creationId xmlns:a16="http://schemas.microsoft.com/office/drawing/2014/main" id="{4DA250A0-7469-4EBB-8EC0-AA6CC8BE8D19}"/>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5" name="Slide Number Placeholder 4">
            <a:extLst>
              <a:ext uri="{FF2B5EF4-FFF2-40B4-BE49-F238E27FC236}">
                <a16:creationId xmlns:a16="http://schemas.microsoft.com/office/drawing/2014/main" id="{CFDF51AB-1062-406A-8F87-128462D17A7A}"/>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5</a:t>
            </a:fld>
            <a:endParaRPr lang="en-US" dirty="0">
              <a:solidFill>
                <a:srgbClr val="F79646">
                  <a:lumMod val="75000"/>
                </a:srgbClr>
              </a:solidFill>
            </a:endParaRPr>
          </a:p>
        </p:txBody>
      </p:sp>
      <p:graphicFrame>
        <p:nvGraphicFramePr>
          <p:cNvPr id="7" name="Content Placeholder 6">
            <a:extLst>
              <a:ext uri="{FF2B5EF4-FFF2-40B4-BE49-F238E27FC236}">
                <a16:creationId xmlns:a16="http://schemas.microsoft.com/office/drawing/2014/main" id="{9581BCF1-BA15-4A6F-925A-E2565BB671F2}"/>
              </a:ext>
            </a:extLst>
          </p:cNvPr>
          <p:cNvGraphicFramePr>
            <a:graphicFrameLocks/>
          </p:cNvGraphicFramePr>
          <p:nvPr>
            <p:extLst/>
          </p:nvPr>
        </p:nvGraphicFramePr>
        <p:xfrm>
          <a:off x="381000" y="1219200"/>
          <a:ext cx="927735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2564564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0388B3D-A226-48CC-8871-41BDA588D6C2}"/>
              </a:ext>
            </a:extLst>
          </p:cNvPr>
          <p:cNvSpPr>
            <a:spLocks noGrp="1"/>
          </p:cNvSpPr>
          <p:nvPr>
            <p:ph idx="1"/>
          </p:nvPr>
        </p:nvSpPr>
        <p:spPr/>
        <p:txBody>
          <a:bodyPr>
            <a:normAutofit fontScale="47500" lnSpcReduction="20000"/>
          </a:bodyPr>
          <a:lstStyle/>
          <a:p>
            <a:r>
              <a:rPr lang="en-IN" dirty="0"/>
              <a:t>About the facilities </a:t>
            </a:r>
          </a:p>
          <a:p>
            <a:pPr lvl="1"/>
            <a:r>
              <a:rPr lang="en-IN" dirty="0"/>
              <a:t>ISO Class 8 area for reaction, filtration and powder processing. (0.3µ Air supply)</a:t>
            </a:r>
          </a:p>
          <a:p>
            <a:pPr lvl="1"/>
            <a:r>
              <a:rPr lang="en-IN" dirty="0"/>
              <a:t>Separate Cubicles provided to avoid cross  contamination.</a:t>
            </a:r>
          </a:p>
          <a:p>
            <a:pPr lvl="1"/>
            <a:r>
              <a:rPr lang="en-IN" dirty="0"/>
              <a:t>HVAC system provided to maintained pressure,</a:t>
            </a:r>
          </a:p>
          <a:p>
            <a:pPr lvl="1"/>
            <a:r>
              <a:rPr lang="en-IN" dirty="0"/>
              <a:t> temperature and humidity.</a:t>
            </a:r>
          </a:p>
          <a:p>
            <a:pPr lvl="1"/>
            <a:r>
              <a:rPr lang="en-IN" dirty="0"/>
              <a:t>Atomization for less material exposure. </a:t>
            </a:r>
          </a:p>
          <a:p>
            <a:pPr lvl="1"/>
            <a:r>
              <a:rPr lang="en-IN" dirty="0"/>
              <a:t>Purified water  2 KL/hr </a:t>
            </a:r>
          </a:p>
          <a:p>
            <a:r>
              <a:rPr lang="en-IN" dirty="0"/>
              <a:t>Equipment's </a:t>
            </a:r>
          </a:p>
          <a:p>
            <a:pPr lvl="1"/>
            <a:r>
              <a:rPr lang="en-IN" dirty="0"/>
              <a:t>Stainless steel Reactor-02</a:t>
            </a:r>
          </a:p>
          <a:p>
            <a:pPr lvl="1"/>
            <a:r>
              <a:rPr lang="en-IN" dirty="0"/>
              <a:t>Glass lined Reactor-01</a:t>
            </a:r>
          </a:p>
          <a:p>
            <a:pPr lvl="1"/>
            <a:r>
              <a:rPr lang="en-IN" dirty="0"/>
              <a:t>Centrifuge-03</a:t>
            </a:r>
          </a:p>
          <a:p>
            <a:pPr lvl="1"/>
            <a:r>
              <a:rPr lang="en-IN" dirty="0"/>
              <a:t>Vacuum Tray Dryer-01</a:t>
            </a:r>
          </a:p>
          <a:p>
            <a:pPr lvl="1"/>
            <a:r>
              <a:rPr lang="en-IN" dirty="0"/>
              <a:t>Rota cone Vacuum Dryer-01</a:t>
            </a:r>
          </a:p>
          <a:p>
            <a:pPr lvl="1"/>
            <a:r>
              <a:rPr lang="en-IN" dirty="0"/>
              <a:t>Sifter-01</a:t>
            </a:r>
          </a:p>
          <a:p>
            <a:pPr lvl="1"/>
            <a:r>
              <a:rPr lang="en-IN" dirty="0"/>
              <a:t>Blender-01</a:t>
            </a:r>
          </a:p>
          <a:p>
            <a:pPr lvl="1"/>
            <a:r>
              <a:rPr lang="en-IN" dirty="0"/>
              <a:t>Multimill-01</a:t>
            </a:r>
          </a:p>
          <a:p>
            <a:pPr lvl="1"/>
            <a:r>
              <a:rPr lang="en-IN" dirty="0"/>
              <a:t>Dust Collector-03</a:t>
            </a:r>
          </a:p>
          <a:p>
            <a:r>
              <a:rPr lang="en-IN" dirty="0"/>
              <a:t>Separate utilities </a:t>
            </a:r>
          </a:p>
          <a:p>
            <a:pPr lvl="1"/>
            <a:r>
              <a:rPr lang="en-IN" dirty="0"/>
              <a:t>Nitrogen </a:t>
            </a:r>
          </a:p>
          <a:p>
            <a:pPr lvl="1"/>
            <a:r>
              <a:rPr lang="en-IN" dirty="0"/>
              <a:t>Compressed Air Jacket flushing and instrumentation</a:t>
            </a:r>
          </a:p>
          <a:p>
            <a:pPr lvl="1"/>
            <a:r>
              <a:rPr lang="en-IN" dirty="0"/>
              <a:t>Brine -20°C</a:t>
            </a:r>
          </a:p>
          <a:p>
            <a:pPr lvl="1"/>
            <a:r>
              <a:rPr lang="en-IN" dirty="0"/>
              <a:t>Cooling water ~29 °C</a:t>
            </a:r>
          </a:p>
          <a:p>
            <a:pPr lvl="1"/>
            <a:r>
              <a:rPr lang="en-IN" dirty="0"/>
              <a:t>Chilled water  &lt;7°C</a:t>
            </a:r>
          </a:p>
          <a:p>
            <a:pPr lvl="1"/>
            <a:r>
              <a:rPr lang="en-IN" dirty="0"/>
              <a:t>Hot water to Reactors and dryer </a:t>
            </a:r>
          </a:p>
          <a:p>
            <a:r>
              <a:rPr lang="en-IN" dirty="0"/>
              <a:t>Standard Documents</a:t>
            </a:r>
          </a:p>
          <a:p>
            <a:pPr lvl="1"/>
            <a:r>
              <a:rPr lang="en-IN" dirty="0"/>
              <a:t>Batch Manufacturing Records </a:t>
            </a:r>
          </a:p>
          <a:p>
            <a:pPr lvl="1"/>
            <a:r>
              <a:rPr lang="en-IN" dirty="0"/>
              <a:t>Line clearance</a:t>
            </a:r>
          </a:p>
          <a:p>
            <a:pPr lvl="1"/>
            <a:r>
              <a:rPr lang="en-IN" dirty="0"/>
              <a:t>Equipment cleaning Records</a:t>
            </a:r>
          </a:p>
          <a:p>
            <a:pPr lvl="1"/>
            <a:r>
              <a:rPr lang="en-IN" dirty="0"/>
              <a:t>Equipment usage Log</a:t>
            </a:r>
          </a:p>
          <a:p>
            <a:pPr lvl="1"/>
            <a:r>
              <a:rPr lang="en-IN" dirty="0"/>
              <a:t>Temperature, Humidity and Pressure differential Records</a:t>
            </a:r>
          </a:p>
          <a:p>
            <a:pPr lvl="1"/>
            <a:r>
              <a:rPr lang="en-IN" dirty="0"/>
              <a:t>House keeping Records</a:t>
            </a:r>
          </a:p>
          <a:p>
            <a:endParaRPr lang="en-IN" dirty="0"/>
          </a:p>
        </p:txBody>
      </p:sp>
      <p:sp>
        <p:nvSpPr>
          <p:cNvPr id="3" name="Date Placeholder 2">
            <a:extLst>
              <a:ext uri="{FF2B5EF4-FFF2-40B4-BE49-F238E27FC236}">
                <a16:creationId xmlns:a16="http://schemas.microsoft.com/office/drawing/2014/main" id="{C49BBE98-7E96-46B2-8575-1A907270685D}"/>
              </a:ext>
            </a:extLst>
          </p:cNvPr>
          <p:cNvSpPr>
            <a:spLocks noGrp="1"/>
          </p:cNvSpPr>
          <p:nvPr>
            <p:ph type="dt" sz="half" idx="14"/>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4" name="Footer Placeholder 3">
            <a:extLst>
              <a:ext uri="{FF2B5EF4-FFF2-40B4-BE49-F238E27FC236}">
                <a16:creationId xmlns:a16="http://schemas.microsoft.com/office/drawing/2014/main" id="{BC989315-0724-4D2A-B0E2-6FE1F42A9B70}"/>
              </a:ext>
            </a:extLst>
          </p:cNvPr>
          <p:cNvSpPr>
            <a:spLocks noGrp="1"/>
          </p:cNvSpPr>
          <p:nvPr>
            <p:ph type="ftr" sz="quarter" idx="15"/>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5" name="Slide Number Placeholder 4">
            <a:extLst>
              <a:ext uri="{FF2B5EF4-FFF2-40B4-BE49-F238E27FC236}">
                <a16:creationId xmlns:a16="http://schemas.microsoft.com/office/drawing/2014/main" id="{0CBE8EAC-87BD-4A4E-8A96-BCDDF6632D17}"/>
              </a:ext>
            </a:extLst>
          </p:cNvPr>
          <p:cNvSpPr>
            <a:spLocks noGrp="1"/>
          </p:cNvSpPr>
          <p:nvPr>
            <p:ph type="sldNum" sz="quarter" idx="16"/>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6</a:t>
            </a:fld>
            <a:endParaRPr lang="en-US" dirty="0">
              <a:solidFill>
                <a:srgbClr val="F79646">
                  <a:lumMod val="75000"/>
                </a:srgbClr>
              </a:solidFill>
            </a:endParaRPr>
          </a:p>
        </p:txBody>
      </p:sp>
      <p:sp>
        <p:nvSpPr>
          <p:cNvPr id="2" name="Title 1">
            <a:extLst>
              <a:ext uri="{FF2B5EF4-FFF2-40B4-BE49-F238E27FC236}">
                <a16:creationId xmlns:a16="http://schemas.microsoft.com/office/drawing/2014/main" id="{C5413064-59B2-4B9C-9FDC-031978847321}"/>
              </a:ext>
            </a:extLst>
          </p:cNvPr>
          <p:cNvSpPr>
            <a:spLocks noGrp="1"/>
          </p:cNvSpPr>
          <p:nvPr>
            <p:ph type="title"/>
          </p:nvPr>
        </p:nvSpPr>
        <p:spPr/>
        <p:txBody>
          <a:bodyPr/>
          <a:lstStyle/>
          <a:p>
            <a:r>
              <a:rPr lang="en-IN" dirty="0"/>
              <a:t>Process Flow by Gravity</a:t>
            </a:r>
          </a:p>
        </p:txBody>
      </p:sp>
      <p:pic>
        <p:nvPicPr>
          <p:cNvPr id="8" name="Picture 7">
            <a:extLst>
              <a:ext uri="{FF2B5EF4-FFF2-40B4-BE49-F238E27FC236}">
                <a16:creationId xmlns:a16="http://schemas.microsoft.com/office/drawing/2014/main" id="{BF246ABF-FE30-41D5-B910-F02F77E3B835}"/>
              </a:ext>
            </a:extLst>
          </p:cNvPr>
          <p:cNvPicPr>
            <a:picLocks noChangeAspect="1"/>
          </p:cNvPicPr>
          <p:nvPr/>
        </p:nvPicPr>
        <p:blipFill>
          <a:blip r:embed="rId2"/>
          <a:stretch>
            <a:fillRect/>
          </a:stretch>
        </p:blipFill>
        <p:spPr>
          <a:xfrm>
            <a:off x="4191000" y="838200"/>
            <a:ext cx="4907385" cy="5410200"/>
          </a:xfrm>
          <a:prstGeom prst="rect">
            <a:avLst/>
          </a:prstGeom>
        </p:spPr>
      </p:pic>
      <p:sp>
        <p:nvSpPr>
          <p:cNvPr id="9" name="TextBox 8">
            <a:extLst>
              <a:ext uri="{FF2B5EF4-FFF2-40B4-BE49-F238E27FC236}">
                <a16:creationId xmlns:a16="http://schemas.microsoft.com/office/drawing/2014/main" id="{A9D2B5F0-3C0F-4EB7-A2A0-E0C5A4739F6A}"/>
              </a:ext>
            </a:extLst>
          </p:cNvPr>
          <p:cNvSpPr txBox="1"/>
          <p:nvPr/>
        </p:nvSpPr>
        <p:spPr>
          <a:xfrm>
            <a:off x="8705834" y="1348741"/>
            <a:ext cx="1205917" cy="415498"/>
          </a:xfrm>
          <a:prstGeom prst="rect">
            <a:avLst/>
          </a:prstGeom>
          <a:noFill/>
        </p:spPr>
        <p:txBody>
          <a:bodyPr wrap="square" rtlCol="0">
            <a:spAutoFit/>
          </a:bodyPr>
          <a:lstStyle/>
          <a:p>
            <a:r>
              <a:rPr lang="en-IN" sz="1050" dirty="0">
                <a:solidFill>
                  <a:schemeClr val="accent1"/>
                </a:solidFill>
              </a:rPr>
              <a:t>Charcoal Treatment </a:t>
            </a:r>
          </a:p>
        </p:txBody>
      </p:sp>
      <p:sp>
        <p:nvSpPr>
          <p:cNvPr id="10" name="TextBox 9">
            <a:extLst>
              <a:ext uri="{FF2B5EF4-FFF2-40B4-BE49-F238E27FC236}">
                <a16:creationId xmlns:a16="http://schemas.microsoft.com/office/drawing/2014/main" id="{5D903FB9-E714-4156-8126-38D1778EC794}"/>
              </a:ext>
            </a:extLst>
          </p:cNvPr>
          <p:cNvSpPr txBox="1"/>
          <p:nvPr/>
        </p:nvSpPr>
        <p:spPr>
          <a:xfrm>
            <a:off x="8610600" y="330157"/>
            <a:ext cx="1066800" cy="261610"/>
          </a:xfrm>
          <a:prstGeom prst="rect">
            <a:avLst/>
          </a:prstGeom>
          <a:noFill/>
        </p:spPr>
        <p:txBody>
          <a:bodyPr wrap="square" rtlCol="0">
            <a:spAutoFit/>
          </a:bodyPr>
          <a:lstStyle/>
          <a:p>
            <a:r>
              <a:rPr lang="en-IN" sz="1050" dirty="0">
                <a:solidFill>
                  <a:schemeClr val="accent1"/>
                </a:solidFill>
              </a:rPr>
              <a:t>Utilities </a:t>
            </a:r>
          </a:p>
        </p:txBody>
      </p:sp>
      <p:sp>
        <p:nvSpPr>
          <p:cNvPr id="11" name="TextBox 10">
            <a:extLst>
              <a:ext uri="{FF2B5EF4-FFF2-40B4-BE49-F238E27FC236}">
                <a16:creationId xmlns:a16="http://schemas.microsoft.com/office/drawing/2014/main" id="{322B4387-90F3-438F-94D2-186C7EFB0C07}"/>
              </a:ext>
            </a:extLst>
          </p:cNvPr>
          <p:cNvSpPr txBox="1"/>
          <p:nvPr/>
        </p:nvSpPr>
        <p:spPr>
          <a:xfrm>
            <a:off x="8716948" y="3302041"/>
            <a:ext cx="1205917" cy="577081"/>
          </a:xfrm>
          <a:prstGeom prst="rect">
            <a:avLst/>
          </a:prstGeom>
          <a:noFill/>
        </p:spPr>
        <p:txBody>
          <a:bodyPr wrap="square" rtlCol="0">
            <a:spAutoFit/>
          </a:bodyPr>
          <a:lstStyle/>
          <a:p>
            <a:r>
              <a:rPr lang="en-IN" sz="1050" dirty="0">
                <a:solidFill>
                  <a:schemeClr val="accent1"/>
                </a:solidFill>
              </a:rPr>
              <a:t>Isolation</a:t>
            </a:r>
          </a:p>
          <a:p>
            <a:r>
              <a:rPr lang="en-IN" sz="1050" dirty="0">
                <a:solidFill>
                  <a:schemeClr val="accent1"/>
                </a:solidFill>
              </a:rPr>
              <a:t> and </a:t>
            </a:r>
          </a:p>
          <a:p>
            <a:r>
              <a:rPr lang="en-IN" sz="1050" dirty="0">
                <a:solidFill>
                  <a:schemeClr val="accent1"/>
                </a:solidFill>
              </a:rPr>
              <a:t>purification </a:t>
            </a:r>
          </a:p>
        </p:txBody>
      </p:sp>
      <p:sp>
        <p:nvSpPr>
          <p:cNvPr id="12" name="TextBox 11">
            <a:extLst>
              <a:ext uri="{FF2B5EF4-FFF2-40B4-BE49-F238E27FC236}">
                <a16:creationId xmlns:a16="http://schemas.microsoft.com/office/drawing/2014/main" id="{8DD8557C-A94A-4171-9909-89EE6D5A3661}"/>
              </a:ext>
            </a:extLst>
          </p:cNvPr>
          <p:cNvSpPr txBox="1"/>
          <p:nvPr/>
        </p:nvSpPr>
        <p:spPr>
          <a:xfrm>
            <a:off x="7233679" y="4376736"/>
            <a:ext cx="1205917" cy="415498"/>
          </a:xfrm>
          <a:prstGeom prst="rect">
            <a:avLst/>
          </a:prstGeom>
          <a:noFill/>
        </p:spPr>
        <p:txBody>
          <a:bodyPr wrap="square" rtlCol="0">
            <a:spAutoFit/>
          </a:bodyPr>
          <a:lstStyle/>
          <a:p>
            <a:r>
              <a:rPr lang="en-IN" sz="1050" dirty="0">
                <a:solidFill>
                  <a:schemeClr val="accent1"/>
                </a:solidFill>
              </a:rPr>
              <a:t>Final </a:t>
            </a:r>
          </a:p>
          <a:p>
            <a:r>
              <a:rPr lang="en-IN" sz="1050" dirty="0">
                <a:solidFill>
                  <a:schemeClr val="accent1"/>
                </a:solidFill>
              </a:rPr>
              <a:t>isolation </a:t>
            </a:r>
          </a:p>
        </p:txBody>
      </p:sp>
      <p:sp>
        <p:nvSpPr>
          <p:cNvPr id="13" name="TextBox 12">
            <a:extLst>
              <a:ext uri="{FF2B5EF4-FFF2-40B4-BE49-F238E27FC236}">
                <a16:creationId xmlns:a16="http://schemas.microsoft.com/office/drawing/2014/main" id="{380BB133-64CC-46B1-94FB-0D95B708900F}"/>
              </a:ext>
            </a:extLst>
          </p:cNvPr>
          <p:cNvSpPr txBox="1"/>
          <p:nvPr/>
        </p:nvSpPr>
        <p:spPr>
          <a:xfrm>
            <a:off x="5353925" y="2465365"/>
            <a:ext cx="1205917" cy="253916"/>
          </a:xfrm>
          <a:prstGeom prst="rect">
            <a:avLst/>
          </a:prstGeom>
          <a:noFill/>
        </p:spPr>
        <p:txBody>
          <a:bodyPr wrap="square" rtlCol="0">
            <a:spAutoFit/>
          </a:bodyPr>
          <a:lstStyle/>
          <a:p>
            <a:r>
              <a:rPr lang="en-IN" sz="1050" dirty="0"/>
              <a:t>GLR</a:t>
            </a:r>
          </a:p>
        </p:txBody>
      </p:sp>
      <p:sp>
        <p:nvSpPr>
          <p:cNvPr id="14" name="TextBox 13">
            <a:extLst>
              <a:ext uri="{FF2B5EF4-FFF2-40B4-BE49-F238E27FC236}">
                <a16:creationId xmlns:a16="http://schemas.microsoft.com/office/drawing/2014/main" id="{CA5BA276-276A-4685-A314-71921BA17BE4}"/>
              </a:ext>
            </a:extLst>
          </p:cNvPr>
          <p:cNvSpPr txBox="1"/>
          <p:nvPr/>
        </p:nvSpPr>
        <p:spPr>
          <a:xfrm>
            <a:off x="6856119" y="2478173"/>
            <a:ext cx="1205917" cy="253916"/>
          </a:xfrm>
          <a:prstGeom prst="rect">
            <a:avLst/>
          </a:prstGeom>
          <a:noFill/>
        </p:spPr>
        <p:txBody>
          <a:bodyPr wrap="square" rtlCol="0">
            <a:spAutoFit/>
          </a:bodyPr>
          <a:lstStyle/>
          <a:p>
            <a:r>
              <a:rPr lang="en-IN" sz="1050" dirty="0"/>
              <a:t>SSR</a:t>
            </a:r>
          </a:p>
        </p:txBody>
      </p:sp>
      <p:sp>
        <p:nvSpPr>
          <p:cNvPr id="15" name="TextBox 14">
            <a:extLst>
              <a:ext uri="{FF2B5EF4-FFF2-40B4-BE49-F238E27FC236}">
                <a16:creationId xmlns:a16="http://schemas.microsoft.com/office/drawing/2014/main" id="{288E96B9-FF6F-4764-8DEC-151D637369A9}"/>
              </a:ext>
            </a:extLst>
          </p:cNvPr>
          <p:cNvSpPr txBox="1"/>
          <p:nvPr/>
        </p:nvSpPr>
        <p:spPr>
          <a:xfrm>
            <a:off x="8043383" y="2351151"/>
            <a:ext cx="1205917" cy="253916"/>
          </a:xfrm>
          <a:prstGeom prst="rect">
            <a:avLst/>
          </a:prstGeom>
          <a:noFill/>
        </p:spPr>
        <p:txBody>
          <a:bodyPr wrap="square" rtlCol="0">
            <a:spAutoFit/>
          </a:bodyPr>
          <a:lstStyle/>
          <a:p>
            <a:r>
              <a:rPr lang="en-IN" sz="1050" dirty="0"/>
              <a:t>SSR</a:t>
            </a:r>
          </a:p>
        </p:txBody>
      </p:sp>
      <p:sp>
        <p:nvSpPr>
          <p:cNvPr id="16" name="TextBox 15">
            <a:extLst>
              <a:ext uri="{FF2B5EF4-FFF2-40B4-BE49-F238E27FC236}">
                <a16:creationId xmlns:a16="http://schemas.microsoft.com/office/drawing/2014/main" id="{EB1273C5-8D32-41F3-A810-85FE700A670F}"/>
              </a:ext>
            </a:extLst>
          </p:cNvPr>
          <p:cNvSpPr txBox="1"/>
          <p:nvPr/>
        </p:nvSpPr>
        <p:spPr>
          <a:xfrm>
            <a:off x="7882983" y="1313317"/>
            <a:ext cx="1205917" cy="253916"/>
          </a:xfrm>
          <a:prstGeom prst="rect">
            <a:avLst/>
          </a:prstGeom>
          <a:noFill/>
        </p:spPr>
        <p:txBody>
          <a:bodyPr wrap="square" rtlCol="0">
            <a:spAutoFit/>
          </a:bodyPr>
          <a:lstStyle/>
          <a:p>
            <a:r>
              <a:rPr lang="en-IN" sz="1050" dirty="0"/>
              <a:t>SSR</a:t>
            </a:r>
          </a:p>
        </p:txBody>
      </p:sp>
      <p:sp>
        <p:nvSpPr>
          <p:cNvPr id="17" name="TextBox 16">
            <a:extLst>
              <a:ext uri="{FF2B5EF4-FFF2-40B4-BE49-F238E27FC236}">
                <a16:creationId xmlns:a16="http://schemas.microsoft.com/office/drawing/2014/main" id="{E272A990-554C-426B-B7CD-AB3A43C2C89F}"/>
              </a:ext>
            </a:extLst>
          </p:cNvPr>
          <p:cNvSpPr txBox="1"/>
          <p:nvPr/>
        </p:nvSpPr>
        <p:spPr>
          <a:xfrm>
            <a:off x="5622460" y="3175083"/>
            <a:ext cx="1205917" cy="253916"/>
          </a:xfrm>
          <a:prstGeom prst="rect">
            <a:avLst/>
          </a:prstGeom>
          <a:noFill/>
        </p:spPr>
        <p:txBody>
          <a:bodyPr wrap="square" rtlCol="0">
            <a:spAutoFit/>
          </a:bodyPr>
          <a:lstStyle/>
          <a:p>
            <a:r>
              <a:rPr lang="en-IN" sz="1050" dirty="0"/>
              <a:t>SSR</a:t>
            </a:r>
          </a:p>
        </p:txBody>
      </p:sp>
      <p:sp>
        <p:nvSpPr>
          <p:cNvPr id="18" name="TextBox 17">
            <a:extLst>
              <a:ext uri="{FF2B5EF4-FFF2-40B4-BE49-F238E27FC236}">
                <a16:creationId xmlns:a16="http://schemas.microsoft.com/office/drawing/2014/main" id="{E166EA72-5221-4909-8A92-19D80217FCBF}"/>
              </a:ext>
            </a:extLst>
          </p:cNvPr>
          <p:cNvSpPr txBox="1"/>
          <p:nvPr/>
        </p:nvSpPr>
        <p:spPr>
          <a:xfrm>
            <a:off x="7271420" y="3256609"/>
            <a:ext cx="1205917" cy="253916"/>
          </a:xfrm>
          <a:prstGeom prst="rect">
            <a:avLst/>
          </a:prstGeom>
          <a:noFill/>
        </p:spPr>
        <p:txBody>
          <a:bodyPr wrap="square" rtlCol="0">
            <a:spAutoFit/>
          </a:bodyPr>
          <a:lstStyle/>
          <a:p>
            <a:r>
              <a:rPr lang="en-IN" sz="1050" dirty="0"/>
              <a:t>SSR</a:t>
            </a:r>
          </a:p>
        </p:txBody>
      </p:sp>
      <p:sp>
        <p:nvSpPr>
          <p:cNvPr id="19" name="TextBox 18">
            <a:extLst>
              <a:ext uri="{FF2B5EF4-FFF2-40B4-BE49-F238E27FC236}">
                <a16:creationId xmlns:a16="http://schemas.microsoft.com/office/drawing/2014/main" id="{57E49A21-175A-4822-AD13-24DACC2E5F0D}"/>
              </a:ext>
            </a:extLst>
          </p:cNvPr>
          <p:cNvSpPr txBox="1"/>
          <p:nvPr/>
        </p:nvSpPr>
        <p:spPr>
          <a:xfrm>
            <a:off x="6253161" y="5334124"/>
            <a:ext cx="1205917" cy="253916"/>
          </a:xfrm>
          <a:prstGeom prst="rect">
            <a:avLst/>
          </a:prstGeom>
          <a:noFill/>
        </p:spPr>
        <p:txBody>
          <a:bodyPr wrap="square" rtlCol="0">
            <a:spAutoFit/>
          </a:bodyPr>
          <a:lstStyle/>
          <a:p>
            <a:r>
              <a:rPr lang="en-IN" sz="1050" dirty="0"/>
              <a:t>Blender </a:t>
            </a:r>
          </a:p>
        </p:txBody>
      </p:sp>
      <p:sp>
        <p:nvSpPr>
          <p:cNvPr id="20" name="TextBox 19">
            <a:extLst>
              <a:ext uri="{FF2B5EF4-FFF2-40B4-BE49-F238E27FC236}">
                <a16:creationId xmlns:a16="http://schemas.microsoft.com/office/drawing/2014/main" id="{4CA9E786-F24A-4EED-A0BB-58C093B6D534}"/>
              </a:ext>
            </a:extLst>
          </p:cNvPr>
          <p:cNvSpPr txBox="1"/>
          <p:nvPr/>
        </p:nvSpPr>
        <p:spPr>
          <a:xfrm>
            <a:off x="8775409" y="5010959"/>
            <a:ext cx="1205917" cy="900246"/>
          </a:xfrm>
          <a:prstGeom prst="rect">
            <a:avLst/>
          </a:prstGeom>
          <a:noFill/>
        </p:spPr>
        <p:txBody>
          <a:bodyPr wrap="square" rtlCol="0">
            <a:spAutoFit/>
          </a:bodyPr>
          <a:lstStyle/>
          <a:p>
            <a:r>
              <a:rPr lang="en-IN" sz="1050" dirty="0">
                <a:solidFill>
                  <a:schemeClr val="accent1"/>
                </a:solidFill>
              </a:rPr>
              <a:t>Final </a:t>
            </a:r>
          </a:p>
          <a:p>
            <a:r>
              <a:rPr lang="en-IN" sz="1050" dirty="0">
                <a:solidFill>
                  <a:schemeClr val="accent1"/>
                </a:solidFill>
              </a:rPr>
              <a:t>Filling,</a:t>
            </a:r>
          </a:p>
          <a:p>
            <a:r>
              <a:rPr lang="en-IN" sz="1050" dirty="0">
                <a:solidFill>
                  <a:schemeClr val="accent1"/>
                </a:solidFill>
              </a:rPr>
              <a:t>packing </a:t>
            </a:r>
          </a:p>
          <a:p>
            <a:r>
              <a:rPr lang="en-IN" sz="1050" dirty="0">
                <a:solidFill>
                  <a:schemeClr val="accent1"/>
                </a:solidFill>
              </a:rPr>
              <a:t>and </a:t>
            </a:r>
          </a:p>
          <a:p>
            <a:r>
              <a:rPr lang="en-IN" sz="1050" dirty="0">
                <a:solidFill>
                  <a:schemeClr val="accent1"/>
                </a:solidFill>
              </a:rPr>
              <a:t>Sampling   </a:t>
            </a:r>
          </a:p>
        </p:txBody>
      </p:sp>
      <p:sp>
        <p:nvSpPr>
          <p:cNvPr id="21" name="TextBox 20">
            <a:extLst>
              <a:ext uri="{FF2B5EF4-FFF2-40B4-BE49-F238E27FC236}">
                <a16:creationId xmlns:a16="http://schemas.microsoft.com/office/drawing/2014/main" id="{07505D31-5173-4D02-9B88-23E1FADF51B1}"/>
              </a:ext>
            </a:extLst>
          </p:cNvPr>
          <p:cNvSpPr txBox="1"/>
          <p:nvPr/>
        </p:nvSpPr>
        <p:spPr>
          <a:xfrm>
            <a:off x="5501299" y="1348741"/>
            <a:ext cx="911167" cy="415498"/>
          </a:xfrm>
          <a:prstGeom prst="rect">
            <a:avLst/>
          </a:prstGeom>
          <a:noFill/>
        </p:spPr>
        <p:txBody>
          <a:bodyPr wrap="square" rtlCol="0">
            <a:spAutoFit/>
          </a:bodyPr>
          <a:lstStyle/>
          <a:p>
            <a:r>
              <a:rPr lang="en-IN" sz="1050" dirty="0">
                <a:solidFill>
                  <a:schemeClr val="accent1"/>
                </a:solidFill>
              </a:rPr>
              <a:t>Dispensing area </a:t>
            </a:r>
          </a:p>
        </p:txBody>
      </p:sp>
      <p:sp>
        <p:nvSpPr>
          <p:cNvPr id="22" name="TextBox 21">
            <a:extLst>
              <a:ext uri="{FF2B5EF4-FFF2-40B4-BE49-F238E27FC236}">
                <a16:creationId xmlns:a16="http://schemas.microsoft.com/office/drawing/2014/main" id="{AA32ABEC-3505-4F35-88BB-364515C63C6F}"/>
              </a:ext>
            </a:extLst>
          </p:cNvPr>
          <p:cNvSpPr txBox="1"/>
          <p:nvPr/>
        </p:nvSpPr>
        <p:spPr>
          <a:xfrm>
            <a:off x="8643565" y="2573008"/>
            <a:ext cx="1205917" cy="253916"/>
          </a:xfrm>
          <a:prstGeom prst="rect">
            <a:avLst/>
          </a:prstGeom>
          <a:noFill/>
        </p:spPr>
        <p:txBody>
          <a:bodyPr wrap="square" rtlCol="0">
            <a:spAutoFit/>
          </a:bodyPr>
          <a:lstStyle/>
          <a:p>
            <a:r>
              <a:rPr lang="en-IN" sz="1050" dirty="0">
                <a:solidFill>
                  <a:schemeClr val="accent1"/>
                </a:solidFill>
              </a:rPr>
              <a:t>Reaction</a:t>
            </a:r>
          </a:p>
        </p:txBody>
      </p:sp>
    </p:spTree>
    <p:extLst>
      <p:ext uri="{BB962C8B-B14F-4D97-AF65-F5344CB8AC3E}">
        <p14:creationId xmlns:p14="http://schemas.microsoft.com/office/powerpoint/2010/main" val="2624313927"/>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8301BFE-67E5-447F-BBF6-3308C9C7C913}"/>
              </a:ext>
            </a:extLst>
          </p:cNvPr>
          <p:cNvSpPr>
            <a:spLocks noGrp="1"/>
          </p:cNvSpPr>
          <p:nvPr>
            <p:ph type="title"/>
          </p:nvPr>
        </p:nvSpPr>
        <p:spPr/>
        <p:txBody>
          <a:bodyPr>
            <a:normAutofit fontScale="90000"/>
          </a:bodyPr>
          <a:lstStyle/>
          <a:p>
            <a:br>
              <a:rPr lang="en-IN" dirty="0"/>
            </a:br>
            <a:r>
              <a:rPr lang="en-IN" dirty="0"/>
              <a:t>Purified Water System: 2 KL /hr</a:t>
            </a:r>
            <a:br>
              <a:rPr lang="en-IN" dirty="0"/>
            </a:br>
            <a:r>
              <a:rPr lang="en-IN" dirty="0"/>
              <a:t> </a:t>
            </a:r>
          </a:p>
        </p:txBody>
      </p:sp>
      <p:sp>
        <p:nvSpPr>
          <p:cNvPr id="4" name="Date Placeholder 3">
            <a:extLst>
              <a:ext uri="{FF2B5EF4-FFF2-40B4-BE49-F238E27FC236}">
                <a16:creationId xmlns:a16="http://schemas.microsoft.com/office/drawing/2014/main" id="{520EE456-BF9B-4066-B011-C586C3687E62}"/>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54EB347C-0436-40DB-B709-505B003BCA30}"/>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397DC38C-0EC0-4426-B685-291203E0B972}"/>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7</a:t>
            </a:fld>
            <a:endParaRPr lang="en-US" dirty="0">
              <a:solidFill>
                <a:srgbClr val="F79646">
                  <a:lumMod val="75000"/>
                </a:srgbClr>
              </a:solidFill>
            </a:endParaRPr>
          </a:p>
        </p:txBody>
      </p:sp>
      <p:pic>
        <p:nvPicPr>
          <p:cNvPr id="9" name="Picture 8">
            <a:extLst>
              <a:ext uri="{FF2B5EF4-FFF2-40B4-BE49-F238E27FC236}">
                <a16:creationId xmlns:a16="http://schemas.microsoft.com/office/drawing/2014/main" id="{E1D0F49B-8859-4937-BAD1-95F6BD1DEA1F}"/>
              </a:ext>
            </a:extLst>
          </p:cNvPr>
          <p:cNvPicPr>
            <a:picLocks noChangeAspect="1"/>
          </p:cNvPicPr>
          <p:nvPr/>
        </p:nvPicPr>
        <p:blipFill>
          <a:blip r:embed="rId2"/>
          <a:stretch>
            <a:fillRect/>
          </a:stretch>
        </p:blipFill>
        <p:spPr>
          <a:xfrm>
            <a:off x="342722" y="1304614"/>
            <a:ext cx="8725078" cy="4402345"/>
          </a:xfrm>
          <a:prstGeom prst="rect">
            <a:avLst/>
          </a:prstGeom>
        </p:spPr>
      </p:pic>
      <p:graphicFrame>
        <p:nvGraphicFramePr>
          <p:cNvPr id="10" name="Table 9">
            <a:extLst>
              <a:ext uri="{FF2B5EF4-FFF2-40B4-BE49-F238E27FC236}">
                <a16:creationId xmlns:a16="http://schemas.microsoft.com/office/drawing/2014/main" id="{54F9D257-CB21-4683-B40B-0F1827E76397}"/>
              </a:ext>
            </a:extLst>
          </p:cNvPr>
          <p:cNvGraphicFramePr>
            <a:graphicFrameLocks noGrp="1"/>
          </p:cNvGraphicFramePr>
          <p:nvPr>
            <p:extLst/>
          </p:nvPr>
        </p:nvGraphicFramePr>
        <p:xfrm>
          <a:off x="5791200" y="4968240"/>
          <a:ext cx="3581401" cy="1127760"/>
        </p:xfrm>
        <a:graphic>
          <a:graphicData uri="http://schemas.openxmlformats.org/drawingml/2006/table">
            <a:tbl>
              <a:tblPr firstRow="1" bandRow="1">
                <a:tableStyleId>{5940675A-B579-460E-94D1-54222C63F5DA}</a:tableStyleId>
              </a:tblPr>
              <a:tblGrid>
                <a:gridCol w="380999">
                  <a:extLst>
                    <a:ext uri="{9D8B030D-6E8A-4147-A177-3AD203B41FA5}">
                      <a16:colId xmlns:a16="http://schemas.microsoft.com/office/drawing/2014/main" val="3322533470"/>
                    </a:ext>
                  </a:extLst>
                </a:gridCol>
                <a:gridCol w="1371600">
                  <a:extLst>
                    <a:ext uri="{9D8B030D-6E8A-4147-A177-3AD203B41FA5}">
                      <a16:colId xmlns:a16="http://schemas.microsoft.com/office/drawing/2014/main" val="2235956821"/>
                    </a:ext>
                  </a:extLst>
                </a:gridCol>
                <a:gridCol w="1828802">
                  <a:extLst>
                    <a:ext uri="{9D8B030D-6E8A-4147-A177-3AD203B41FA5}">
                      <a16:colId xmlns:a16="http://schemas.microsoft.com/office/drawing/2014/main" val="1304794402"/>
                    </a:ext>
                  </a:extLst>
                </a:gridCol>
              </a:tblGrid>
              <a:tr h="161632">
                <a:tc>
                  <a:txBody>
                    <a:bodyPr/>
                    <a:lstStyle/>
                    <a:p>
                      <a:pPr algn="ctr"/>
                      <a:r>
                        <a:rPr lang="en-US" sz="400" dirty="0">
                          <a:latin typeface="Arial" panose="020B0604020202020204" pitchFamily="34" charset="0"/>
                          <a:cs typeface="Arial" panose="020B0604020202020204" pitchFamily="34" charset="0"/>
                        </a:rPr>
                        <a:t>Sr.</a:t>
                      </a:r>
                    </a:p>
                    <a:p>
                      <a:pPr algn="ctr"/>
                      <a:r>
                        <a:rPr lang="en-US" sz="400" dirty="0">
                          <a:latin typeface="Arial" panose="020B0604020202020204" pitchFamily="34" charset="0"/>
                          <a:cs typeface="Arial" panose="020B0604020202020204" pitchFamily="34" charset="0"/>
                        </a:rPr>
                        <a:t>No</a:t>
                      </a:r>
                      <a:endParaRPr lang="en-IN" sz="400" dirty="0">
                        <a:latin typeface="Arial" panose="020B0604020202020204" pitchFamily="34" charset="0"/>
                        <a:cs typeface="Arial" panose="020B0604020202020204" pitchFamily="34" charset="0"/>
                      </a:endParaRPr>
                    </a:p>
                  </a:txBody>
                  <a:tcPr/>
                </a:tc>
                <a:tc>
                  <a:txBody>
                    <a:bodyPr/>
                    <a:lstStyle/>
                    <a:p>
                      <a:pPr algn="l"/>
                      <a:r>
                        <a:rPr lang="en-US" sz="600" b="1" dirty="0">
                          <a:latin typeface="Arial" panose="020B0604020202020204" pitchFamily="34" charset="0"/>
                          <a:cs typeface="Arial" panose="020B0604020202020204" pitchFamily="34" charset="0"/>
                        </a:rPr>
                        <a:t>  Input Municipal Water Quality</a:t>
                      </a:r>
                      <a:endParaRPr lang="en-IN" sz="600" b="1" dirty="0">
                        <a:latin typeface="Arial" panose="020B0604020202020204" pitchFamily="34" charset="0"/>
                        <a:cs typeface="Arial" panose="020B0604020202020204" pitchFamily="34" charset="0"/>
                      </a:endParaRPr>
                    </a:p>
                  </a:txBody>
                  <a:tcPr/>
                </a:tc>
                <a:tc>
                  <a:txBody>
                    <a:bodyPr/>
                    <a:lstStyle/>
                    <a:p>
                      <a:pPr algn="l"/>
                      <a:r>
                        <a:rPr lang="en-US" sz="600" b="1" dirty="0">
                          <a:latin typeface="Arial" panose="020B0604020202020204" pitchFamily="34" charset="0"/>
                          <a:cs typeface="Arial" panose="020B0604020202020204" pitchFamily="34" charset="0"/>
                        </a:rPr>
                        <a:t>         Purified Water Quality</a:t>
                      </a:r>
                      <a:endParaRPr lang="en-IN" sz="6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2537524"/>
                  </a:ext>
                </a:extLst>
              </a:tr>
              <a:tr h="138542">
                <a:tc>
                  <a:txBody>
                    <a:bodyPr/>
                    <a:lstStyle/>
                    <a:p>
                      <a:pPr algn="ctr"/>
                      <a:r>
                        <a:rPr lang="en-US" sz="600" dirty="0">
                          <a:latin typeface="Arial" panose="020B0604020202020204" pitchFamily="34" charset="0"/>
                          <a:cs typeface="Arial" panose="020B0604020202020204" pitchFamily="34" charset="0"/>
                        </a:rPr>
                        <a:t> 1</a:t>
                      </a:r>
                      <a:endParaRPr lang="en-IN" sz="600" dirty="0">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pH : 6.5-8.5</a:t>
                      </a:r>
                      <a:endParaRPr lang="en-IN" sz="600" b="0" i="0" u="none" strike="noStrike" dirty="0">
                        <a:solidFill>
                          <a:srgbClr val="000000"/>
                        </a:solidFill>
                        <a:effectLst/>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pH : 5-7</a:t>
                      </a:r>
                      <a:endParaRPr lang="en-IN" sz="600" b="0" i="0" u="none" strike="noStrike" dirty="0">
                        <a:solidFill>
                          <a:srgbClr val="000000"/>
                        </a:solidFill>
                        <a:effectLs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76794747"/>
                  </a:ext>
                </a:extLst>
              </a:tr>
              <a:tr h="207813">
                <a:tc>
                  <a:txBody>
                    <a:bodyPr/>
                    <a:lstStyle/>
                    <a:p>
                      <a:pPr algn="ctr"/>
                      <a:r>
                        <a:rPr lang="en-US" sz="600" dirty="0">
                          <a:latin typeface="Arial" panose="020B0604020202020204" pitchFamily="34" charset="0"/>
                          <a:cs typeface="Arial" panose="020B0604020202020204" pitchFamily="34" charset="0"/>
                        </a:rPr>
                        <a:t>2</a:t>
                      </a:r>
                      <a:endParaRPr lang="en-IN" sz="600" dirty="0">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Total Hardness (as CaCO3) </a:t>
                      </a:r>
                    </a:p>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 NMT 300 ppm</a:t>
                      </a:r>
                      <a:endParaRPr lang="en-IN" sz="600" b="0" i="0" u="none" strike="noStrike" dirty="0">
                        <a:solidFill>
                          <a:srgbClr val="000000"/>
                        </a:solidFill>
                        <a:effectLst/>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en-US" sz="600" dirty="0">
                          <a:latin typeface="Arial" panose="020B0604020202020204" pitchFamily="34" charset="0"/>
                          <a:cs typeface="Arial" panose="020B0604020202020204" pitchFamily="34" charset="0"/>
                        </a:rPr>
                        <a:t> Heavy Metals </a:t>
                      </a:r>
                      <a:r>
                        <a:rPr lang="en-IN" sz="600" dirty="0">
                          <a:latin typeface="Arial" panose="020B0604020202020204" pitchFamily="34" charset="0"/>
                          <a:cs typeface="Arial" panose="020B0604020202020204" pitchFamily="34" charset="0"/>
                        </a:rPr>
                        <a:t>: NMT 0.1 ppm</a:t>
                      </a:r>
                    </a:p>
                  </a:txBody>
                  <a:tcPr/>
                </a:tc>
                <a:extLst>
                  <a:ext uri="{0D108BD9-81ED-4DB2-BD59-A6C34878D82A}">
                    <a16:rowId xmlns:a16="http://schemas.microsoft.com/office/drawing/2014/main" val="2961346123"/>
                  </a:ext>
                </a:extLst>
              </a:tr>
              <a:tr h="207813">
                <a:tc>
                  <a:txBody>
                    <a:bodyPr/>
                    <a:lstStyle/>
                    <a:p>
                      <a:pPr algn="ctr"/>
                      <a:r>
                        <a:rPr lang="en-US" sz="600" dirty="0">
                          <a:latin typeface="Arial" panose="020B0604020202020204" pitchFamily="34" charset="0"/>
                          <a:cs typeface="Arial" panose="020B0604020202020204" pitchFamily="34" charset="0"/>
                        </a:rPr>
                        <a:t>3</a:t>
                      </a:r>
                      <a:endParaRPr lang="en-IN" sz="600" dirty="0">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Total Dissolved Solids         </a:t>
                      </a:r>
                    </a:p>
                    <a:p>
                      <a:pPr marL="0" marR="0" lvl="0" indent="0" algn="l" defTabSz="859627" rtl="0" eaLnBrk="1" fontAlgn="auto" latinLnBrk="0" hangingPunct="1">
                        <a:lnSpc>
                          <a:spcPct val="100000"/>
                        </a:lnSpc>
                        <a:spcBef>
                          <a:spcPts val="0"/>
                        </a:spcBef>
                        <a:spcAft>
                          <a:spcPts val="0"/>
                        </a:spcAft>
                        <a:buClrTx/>
                        <a:buSzTx/>
                        <a:buFontTx/>
                        <a:buNone/>
                        <a:tabLst/>
                        <a:defRPr/>
                      </a:pPr>
                      <a:r>
                        <a:rPr lang="en-US" sz="600" b="0" i="0" u="none" strike="noStrike" dirty="0">
                          <a:solidFill>
                            <a:srgbClr val="000000"/>
                          </a:solidFill>
                          <a:effectLst/>
                          <a:latin typeface="Arial" panose="020B0604020202020204" pitchFamily="34" charset="0"/>
                          <a:cs typeface="Arial" panose="020B0604020202020204" pitchFamily="34" charset="0"/>
                        </a:rPr>
                        <a:t> : NMT 500 ppm</a:t>
                      </a:r>
                      <a:endParaRPr lang="en-IN" sz="600" b="0" i="0" u="none" strike="noStrike" dirty="0">
                        <a:solidFill>
                          <a:srgbClr val="000000"/>
                        </a:solidFill>
                        <a:effectLst/>
                        <a:latin typeface="Arial" panose="020B0604020202020204" pitchFamily="34" charset="0"/>
                        <a:cs typeface="Arial" panose="020B0604020202020204" pitchFamily="34" charset="0"/>
                      </a:endParaRPr>
                    </a:p>
                  </a:txBody>
                  <a:tcPr/>
                </a:tc>
                <a:tc>
                  <a:txBody>
                    <a:bodyPr/>
                    <a:lstStyle/>
                    <a:p>
                      <a:pPr algn="l"/>
                      <a:r>
                        <a:rPr lang="en-US" sz="600" u="none" strike="noStrike" kern="1200" dirty="0">
                          <a:solidFill>
                            <a:schemeClr val="tx1"/>
                          </a:solidFill>
                          <a:effectLst/>
                          <a:latin typeface="Arial" panose="020B0604020202020204" pitchFamily="34" charset="0"/>
                          <a:ea typeface="+mn-ea"/>
                          <a:cs typeface="Arial" panose="020B0604020202020204" pitchFamily="34" charset="0"/>
                        </a:rPr>
                        <a:t>         Nitrates : NMT 0.2 ppm</a:t>
                      </a:r>
                      <a:endParaRPr lang="en-IN" sz="600" u="none" strike="noStrike" kern="1200" dirty="0">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741273403"/>
                  </a:ext>
                </a:extLst>
              </a:tr>
              <a:tr h="138542">
                <a:tc>
                  <a:txBody>
                    <a:bodyPr/>
                    <a:lstStyle/>
                    <a:p>
                      <a:pPr algn="ctr"/>
                      <a:r>
                        <a:rPr lang="en-US" sz="600" dirty="0">
                          <a:latin typeface="Arial" panose="020B0604020202020204" pitchFamily="34" charset="0"/>
                          <a:cs typeface="Arial" panose="020B0604020202020204" pitchFamily="34" charset="0"/>
                        </a:rPr>
                        <a:t>4</a:t>
                      </a:r>
                      <a:endParaRPr lang="en-IN" sz="600" dirty="0">
                        <a:latin typeface="Arial" panose="020B0604020202020204" pitchFamily="34" charset="0"/>
                        <a:cs typeface="Arial" panose="020B0604020202020204" pitchFamily="34" charset="0"/>
                      </a:endParaRPr>
                    </a:p>
                  </a:txBody>
                  <a:tcPr/>
                </a:tc>
                <a:tc>
                  <a:txBody>
                    <a:bodyPr/>
                    <a:lstStyle/>
                    <a:p>
                      <a:pPr marL="0" marR="0" lvl="0" indent="0" algn="l" defTabSz="859627" rtl="0" eaLnBrk="1" fontAlgn="auto" latinLnBrk="0" hangingPunct="1">
                        <a:lnSpc>
                          <a:spcPct val="100000"/>
                        </a:lnSpc>
                        <a:spcBef>
                          <a:spcPts val="0"/>
                        </a:spcBef>
                        <a:spcAft>
                          <a:spcPts val="0"/>
                        </a:spcAft>
                        <a:buClrTx/>
                        <a:buSzTx/>
                        <a:buFontTx/>
                        <a:buNone/>
                        <a:tabLst/>
                        <a:defRPr/>
                      </a:pPr>
                      <a:endParaRPr lang="en-IN" sz="600" b="0" i="0" u="none" strike="noStrike" dirty="0">
                        <a:solidFill>
                          <a:srgbClr val="000000"/>
                        </a:solidFill>
                        <a:effectLst/>
                        <a:latin typeface="Arial" panose="020B0604020202020204" pitchFamily="34" charset="0"/>
                        <a:cs typeface="Arial" panose="020B0604020202020204" pitchFamily="34" charset="0"/>
                      </a:endParaRPr>
                    </a:p>
                  </a:txBody>
                  <a:tcPr/>
                </a:tc>
                <a:tc>
                  <a:txBody>
                    <a:bodyPr/>
                    <a:lstStyle/>
                    <a:p>
                      <a:pPr algn="l"/>
                      <a:r>
                        <a:rPr lang="en-US" sz="600" u="none" strike="noStrike" kern="1200" dirty="0">
                          <a:solidFill>
                            <a:schemeClr val="tx1"/>
                          </a:solidFill>
                          <a:effectLst/>
                          <a:latin typeface="Arial" panose="020B0604020202020204" pitchFamily="34" charset="0"/>
                          <a:ea typeface="+mn-ea"/>
                          <a:cs typeface="Arial" panose="020B0604020202020204" pitchFamily="34" charset="0"/>
                        </a:rPr>
                        <a:t>      Conductivity : NMT 1.3 µS/cm</a:t>
                      </a:r>
                      <a:endParaRPr lang="en-IN" sz="600" u="none" strike="noStrike" kern="1200" dirty="0">
                        <a:solidFill>
                          <a:schemeClr val="tx1"/>
                        </a:solidFill>
                        <a:effectLst/>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243349986"/>
                  </a:ext>
                </a:extLst>
              </a:tr>
            </a:tbl>
          </a:graphicData>
        </a:graphic>
      </p:graphicFrame>
      <p:sp>
        <p:nvSpPr>
          <p:cNvPr id="11" name="Rectangle 10">
            <a:extLst>
              <a:ext uri="{FF2B5EF4-FFF2-40B4-BE49-F238E27FC236}">
                <a16:creationId xmlns:a16="http://schemas.microsoft.com/office/drawing/2014/main" id="{92B1CE50-0E06-40EB-A714-9538937EB051}"/>
              </a:ext>
            </a:extLst>
          </p:cNvPr>
          <p:cNvSpPr/>
          <p:nvPr/>
        </p:nvSpPr>
        <p:spPr>
          <a:xfrm>
            <a:off x="4201031" y="4887438"/>
            <a:ext cx="1503938" cy="246221"/>
          </a:xfrm>
          <a:prstGeom prst="rect">
            <a:avLst/>
          </a:prstGeom>
        </p:spPr>
        <p:txBody>
          <a:bodyPr wrap="none">
            <a:spAutoFit/>
          </a:bodyPr>
          <a:lstStyle/>
          <a:p>
            <a:r>
              <a:rPr lang="en-IN" sz="1000" dirty="0"/>
              <a:t>Storage and Circulation</a:t>
            </a:r>
          </a:p>
        </p:txBody>
      </p:sp>
      <p:sp>
        <p:nvSpPr>
          <p:cNvPr id="12" name="Rectangle 11">
            <a:extLst>
              <a:ext uri="{FF2B5EF4-FFF2-40B4-BE49-F238E27FC236}">
                <a16:creationId xmlns:a16="http://schemas.microsoft.com/office/drawing/2014/main" id="{AAD9AE71-8F09-4B85-BF23-994A1D251BF6}"/>
              </a:ext>
            </a:extLst>
          </p:cNvPr>
          <p:cNvSpPr/>
          <p:nvPr/>
        </p:nvSpPr>
        <p:spPr>
          <a:xfrm>
            <a:off x="497097" y="5611940"/>
            <a:ext cx="1904780" cy="553998"/>
          </a:xfrm>
          <a:prstGeom prst="rect">
            <a:avLst/>
          </a:prstGeom>
        </p:spPr>
        <p:txBody>
          <a:bodyPr wrap="square">
            <a:spAutoFit/>
          </a:bodyPr>
          <a:lstStyle/>
          <a:p>
            <a:r>
              <a:rPr lang="en-GB" sz="1000" kern="0" dirty="0">
                <a:solidFill>
                  <a:prstClr val="black"/>
                </a:solidFill>
                <a:latin typeface="Arial" panose="020B0604020202020204" pitchFamily="34" charset="0"/>
                <a:ea typeface="Verdana" panose="020B0604030504040204" pitchFamily="34" charset="0"/>
                <a:cs typeface="Arial" panose="020B0604020202020204" pitchFamily="34" charset="0"/>
              </a:rPr>
              <a:t>12 No’s of User points Twice in a month </a:t>
            </a:r>
          </a:p>
          <a:p>
            <a:r>
              <a:rPr lang="en-GB" sz="1000" kern="0" dirty="0">
                <a:solidFill>
                  <a:prstClr val="black"/>
                </a:solidFill>
                <a:latin typeface="Arial" panose="020B0604020202020204" pitchFamily="34" charset="0"/>
                <a:ea typeface="Verdana" panose="020B0604030504040204" pitchFamily="34" charset="0"/>
                <a:cs typeface="Arial" panose="020B0604020202020204" pitchFamily="34" charset="0"/>
              </a:rPr>
              <a:t>6PWS  monitoring points Daily  </a:t>
            </a:r>
            <a:endParaRPr lang="en-IN" sz="900" dirty="0"/>
          </a:p>
        </p:txBody>
      </p:sp>
      <p:sp>
        <p:nvSpPr>
          <p:cNvPr id="13" name="Rectangle 12">
            <a:extLst>
              <a:ext uri="{FF2B5EF4-FFF2-40B4-BE49-F238E27FC236}">
                <a16:creationId xmlns:a16="http://schemas.microsoft.com/office/drawing/2014/main" id="{338A5F69-132D-4E47-970E-63F27322811A}"/>
              </a:ext>
            </a:extLst>
          </p:cNvPr>
          <p:cNvSpPr/>
          <p:nvPr/>
        </p:nvSpPr>
        <p:spPr>
          <a:xfrm>
            <a:off x="4814931" y="5161184"/>
            <a:ext cx="539204" cy="261610"/>
          </a:xfrm>
          <a:prstGeom prst="rect">
            <a:avLst/>
          </a:prstGeom>
        </p:spPr>
        <p:txBody>
          <a:bodyPr wrap="square">
            <a:spAutoFit/>
          </a:bodyPr>
          <a:lstStyle/>
          <a:p>
            <a:r>
              <a:rPr lang="en-GB" sz="1050" kern="0" dirty="0">
                <a:solidFill>
                  <a:prstClr val="black"/>
                </a:solidFill>
                <a:latin typeface="Arial" panose="020B0604020202020204" pitchFamily="34" charset="0"/>
                <a:ea typeface="Verdana" panose="020B0604030504040204" pitchFamily="34" charset="0"/>
                <a:cs typeface="Arial" panose="020B0604020202020204" pitchFamily="34" charset="0"/>
              </a:rPr>
              <a:t>4 KL </a:t>
            </a:r>
            <a:endParaRPr lang="en-IN" sz="1000" dirty="0"/>
          </a:p>
        </p:txBody>
      </p:sp>
      <p:sp>
        <p:nvSpPr>
          <p:cNvPr id="14" name="Rectangle 13">
            <a:extLst>
              <a:ext uri="{FF2B5EF4-FFF2-40B4-BE49-F238E27FC236}">
                <a16:creationId xmlns:a16="http://schemas.microsoft.com/office/drawing/2014/main" id="{79D181C9-6A1A-46CA-9014-C3EC2C18A086}"/>
              </a:ext>
            </a:extLst>
          </p:cNvPr>
          <p:cNvSpPr/>
          <p:nvPr/>
        </p:nvSpPr>
        <p:spPr>
          <a:xfrm>
            <a:off x="2957368" y="4789387"/>
            <a:ext cx="776431" cy="579518"/>
          </a:xfrm>
          <a:prstGeom prst="rect">
            <a:avLst/>
          </a:prstGeom>
        </p:spPr>
        <p:txBody>
          <a:bodyPr wrap="square">
            <a:spAutoFit/>
          </a:bodyPr>
          <a:lstStyle/>
          <a:p>
            <a:pPr lvl="0" algn="ctr" defTabSz="859627">
              <a:lnSpc>
                <a:spcPct val="115000"/>
              </a:lnSpc>
            </a:pPr>
            <a:r>
              <a:rPr lang="en-US" sz="700" dirty="0">
                <a:solidFill>
                  <a:prstClr val="black"/>
                </a:solidFill>
              </a:rPr>
              <a:t>PW5 After distribution tank – 2</a:t>
            </a:r>
            <a:r>
              <a:rPr lang="en-US" sz="700" baseline="30000" dirty="0">
                <a:solidFill>
                  <a:prstClr val="black"/>
                </a:solidFill>
              </a:rPr>
              <a:t>nd  </a:t>
            </a:r>
            <a:r>
              <a:rPr lang="en-US" sz="700" dirty="0">
                <a:solidFill>
                  <a:prstClr val="black"/>
                </a:solidFill>
              </a:rPr>
              <a:t>Floor</a:t>
            </a:r>
            <a:endParaRPr lang="en-IN" sz="6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5" name="Rectangle 14">
            <a:extLst>
              <a:ext uri="{FF2B5EF4-FFF2-40B4-BE49-F238E27FC236}">
                <a16:creationId xmlns:a16="http://schemas.microsoft.com/office/drawing/2014/main" id="{4C601FEE-5C0E-4C17-AA2C-63B62B681A75}"/>
              </a:ext>
            </a:extLst>
          </p:cNvPr>
          <p:cNvSpPr/>
          <p:nvPr/>
        </p:nvSpPr>
        <p:spPr>
          <a:xfrm>
            <a:off x="2930490" y="5659860"/>
            <a:ext cx="3123455" cy="769441"/>
          </a:xfrm>
          <a:prstGeom prst="rect">
            <a:avLst/>
          </a:prstGeom>
        </p:spPr>
        <p:txBody>
          <a:bodyPr wrap="square">
            <a:spAutoFit/>
          </a:bodyPr>
          <a:lstStyle/>
          <a:p>
            <a:r>
              <a:rPr lang="en-IN" sz="800" kern="0" dirty="0">
                <a:latin typeface="Times New Roman" panose="02020603050405020304" pitchFamily="18" charset="0"/>
                <a:ea typeface="Verdana" panose="020B0604030504040204" pitchFamily="34" charset="0"/>
                <a:cs typeface="Times New Roman" panose="02020603050405020304" pitchFamily="18" charset="0"/>
              </a:rPr>
              <a:t>Microbial Analysis of Purified &amp; Potable Water</a:t>
            </a:r>
            <a:r>
              <a:rPr lang="en-GB" sz="800" kern="0" dirty="0">
                <a:solidFill>
                  <a:prstClr val="black"/>
                </a:solidFill>
                <a:latin typeface="Arial" panose="020B0604020202020204" pitchFamily="34" charset="0"/>
                <a:ea typeface="Verdana" panose="020B0604030504040204" pitchFamily="34" charset="0"/>
                <a:cs typeface="Arial" panose="020B0604020202020204" pitchFamily="34" charset="0"/>
              </a:rPr>
              <a:t> Twice in a month </a:t>
            </a:r>
            <a:endParaRPr lang="en-IN" sz="800" kern="0" dirty="0">
              <a:latin typeface="Times New Roman" panose="02020603050405020304" pitchFamily="18" charset="0"/>
              <a:ea typeface="Verdana" panose="020B0604030504040204" pitchFamily="34" charset="0"/>
              <a:cs typeface="Times New Roman" panose="02020603050405020304" pitchFamily="18" charset="0"/>
            </a:endParaRPr>
          </a:p>
          <a:p>
            <a:r>
              <a:rPr lang="en-US" sz="800" b="1" dirty="0">
                <a:latin typeface="Times New Roman" panose="02020603050405020304" pitchFamily="18" charset="0"/>
                <a:cs typeface="Times New Roman" panose="02020603050405020304" pitchFamily="18" charset="0"/>
              </a:rPr>
              <a:t>TAMC</a:t>
            </a:r>
            <a:r>
              <a:rPr lang="en-US" sz="800" dirty="0">
                <a:latin typeface="Times New Roman" panose="02020603050405020304" pitchFamily="18" charset="0"/>
                <a:cs typeface="Times New Roman" panose="02020603050405020304" pitchFamily="18" charset="0"/>
              </a:rPr>
              <a:t> (Total Aerobic Microbial Count)</a:t>
            </a:r>
          </a:p>
          <a:p>
            <a:r>
              <a:rPr lang="en-US" sz="800" b="1" dirty="0">
                <a:latin typeface="Times New Roman" panose="02020603050405020304" pitchFamily="18" charset="0"/>
                <a:cs typeface="Times New Roman" panose="02020603050405020304" pitchFamily="18" charset="0"/>
              </a:rPr>
              <a:t>TYMC</a:t>
            </a:r>
            <a:r>
              <a:rPr lang="en-US" sz="800" dirty="0">
                <a:latin typeface="Times New Roman" panose="02020603050405020304" pitchFamily="18" charset="0"/>
                <a:cs typeface="Times New Roman" panose="02020603050405020304" pitchFamily="18" charset="0"/>
              </a:rPr>
              <a:t> (Total Yeast &amp; Mold Count)</a:t>
            </a:r>
          </a:p>
          <a:p>
            <a:r>
              <a:rPr lang="en-US" sz="800" b="1" dirty="0">
                <a:latin typeface="Times New Roman" panose="02020603050405020304" pitchFamily="18" charset="0"/>
                <a:cs typeface="Times New Roman" panose="02020603050405020304" pitchFamily="18" charset="0"/>
              </a:rPr>
              <a:t>Specific Pathogen Test </a:t>
            </a:r>
            <a:r>
              <a:rPr lang="en-US" sz="800" dirty="0">
                <a:latin typeface="Times New Roman" panose="02020603050405020304" pitchFamily="18" charset="0"/>
                <a:cs typeface="Times New Roman" panose="02020603050405020304" pitchFamily="18" charset="0"/>
              </a:rPr>
              <a:t>(Seven pathogen)</a:t>
            </a:r>
          </a:p>
          <a:p>
            <a:endParaRPr lang="en-US" sz="800" dirty="0">
              <a:latin typeface="Times New Roman" panose="02020603050405020304" pitchFamily="18" charset="0"/>
              <a:cs typeface="Times New Roman" panose="02020603050405020304" pitchFamily="18" charset="0"/>
            </a:endParaRPr>
          </a:p>
          <a:p>
            <a:endParaRPr lang="en-IN" sz="400" dirty="0"/>
          </a:p>
        </p:txBody>
      </p:sp>
    </p:spTree>
    <p:extLst>
      <p:ext uri="{BB962C8B-B14F-4D97-AF65-F5344CB8AC3E}">
        <p14:creationId xmlns:p14="http://schemas.microsoft.com/office/powerpoint/2010/main" val="60393255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EFE03-1A8E-4F13-9B7F-398DD3EA32AB}"/>
              </a:ext>
            </a:extLst>
          </p:cNvPr>
          <p:cNvSpPr>
            <a:spLocks noGrp="1"/>
          </p:cNvSpPr>
          <p:nvPr>
            <p:ph type="title"/>
          </p:nvPr>
        </p:nvSpPr>
        <p:spPr/>
        <p:txBody>
          <a:bodyPr/>
          <a:lstStyle/>
          <a:p>
            <a:r>
              <a:rPr lang="en-IN" dirty="0"/>
              <a:t>Summary Quality management System </a:t>
            </a:r>
          </a:p>
        </p:txBody>
      </p:sp>
      <p:sp>
        <p:nvSpPr>
          <p:cNvPr id="3" name="Content Placeholder 2">
            <a:extLst>
              <a:ext uri="{FF2B5EF4-FFF2-40B4-BE49-F238E27FC236}">
                <a16:creationId xmlns:a16="http://schemas.microsoft.com/office/drawing/2014/main" id="{0EB4DDED-FA0B-4F6B-84F5-BF5D1F92818D}"/>
              </a:ext>
            </a:extLst>
          </p:cNvPr>
          <p:cNvSpPr>
            <a:spLocks noGrp="1"/>
          </p:cNvSpPr>
          <p:nvPr>
            <p:ph idx="1"/>
          </p:nvPr>
        </p:nvSpPr>
        <p:spPr/>
        <p:txBody>
          <a:bodyPr/>
          <a:lstStyle/>
          <a:p>
            <a:endParaRPr lang="en-IN"/>
          </a:p>
        </p:txBody>
      </p:sp>
      <p:sp>
        <p:nvSpPr>
          <p:cNvPr id="4" name="Date Placeholder 3">
            <a:extLst>
              <a:ext uri="{FF2B5EF4-FFF2-40B4-BE49-F238E27FC236}">
                <a16:creationId xmlns:a16="http://schemas.microsoft.com/office/drawing/2014/main" id="{383DDD66-A5CA-4C46-B723-47753D703F59}"/>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3587CB51-D4A9-439A-B840-F5CF44271602}"/>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07BB0222-EA9D-4E95-8693-84F12A93DC59}"/>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28</a:t>
            </a:fld>
            <a:endParaRPr lang="en-US" dirty="0">
              <a:solidFill>
                <a:srgbClr val="F79646">
                  <a:lumMod val="75000"/>
                </a:srgbClr>
              </a:solidFill>
            </a:endParaRPr>
          </a:p>
        </p:txBody>
      </p:sp>
      <p:pic>
        <p:nvPicPr>
          <p:cNvPr id="7" name="Picture 2" descr="What Is The Structure Of Quality Management System Qms | kyinbridges.com">
            <a:extLst>
              <a:ext uri="{FF2B5EF4-FFF2-40B4-BE49-F238E27FC236}">
                <a16:creationId xmlns:a16="http://schemas.microsoft.com/office/drawing/2014/main" id="{8CACC304-4BE1-4626-937A-D406E095FE9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90176" y="838200"/>
            <a:ext cx="7701811" cy="53943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78723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779001F-BCD8-4057-BA86-2C971203D9E1}"/>
              </a:ext>
            </a:extLst>
          </p:cNvPr>
          <p:cNvSpPr>
            <a:spLocks noGrp="1"/>
          </p:cNvSpPr>
          <p:nvPr>
            <p:ph type="title"/>
          </p:nvPr>
        </p:nvSpPr>
        <p:spPr/>
        <p:txBody>
          <a:bodyPr/>
          <a:lstStyle/>
          <a:p>
            <a:r>
              <a:rPr lang="en-IN" dirty="0"/>
              <a:t>Quality, Health, Safety and Environment Policy 1/3</a:t>
            </a:r>
          </a:p>
        </p:txBody>
      </p:sp>
      <p:sp>
        <p:nvSpPr>
          <p:cNvPr id="9" name="Content Placeholder 8">
            <a:extLst>
              <a:ext uri="{FF2B5EF4-FFF2-40B4-BE49-F238E27FC236}">
                <a16:creationId xmlns:a16="http://schemas.microsoft.com/office/drawing/2014/main" id="{650E9AD9-22E3-4948-A885-EF6240CEB419}"/>
              </a:ext>
            </a:extLst>
          </p:cNvPr>
          <p:cNvSpPr>
            <a:spLocks noGrp="1"/>
          </p:cNvSpPr>
          <p:nvPr>
            <p:ph idx="1"/>
          </p:nvPr>
        </p:nvSpPr>
        <p:spPr/>
        <p:txBody>
          <a:bodyPr/>
          <a:lstStyle/>
          <a:p>
            <a:r>
              <a:rPr lang="en-IN" dirty="0"/>
              <a:t>“Safety of a person is the top priority other than any target” is the Quality, Health, Safety and Environment policy of </a:t>
            </a:r>
            <a:r>
              <a:rPr lang="en-IN" dirty="0" err="1"/>
              <a:t>InventyS</a:t>
            </a:r>
            <a:r>
              <a:rPr lang="en-IN" dirty="0"/>
              <a:t> Research Company.</a:t>
            </a:r>
          </a:p>
          <a:p>
            <a:r>
              <a:rPr lang="en-IN" dirty="0" err="1"/>
              <a:t>InventyS</a:t>
            </a:r>
            <a:r>
              <a:rPr lang="en-IN" dirty="0"/>
              <a:t> believes that due to continual improvement in safe working environment through regular learnings, trainings and practicing Quality, Health, Safety and Environment procedures, all incidents, accidents, and environmental incidents brings to near zero.</a:t>
            </a:r>
          </a:p>
        </p:txBody>
      </p:sp>
      <p:sp>
        <p:nvSpPr>
          <p:cNvPr id="4" name="Date Placeholder 3">
            <a:extLst>
              <a:ext uri="{FF2B5EF4-FFF2-40B4-BE49-F238E27FC236}">
                <a16:creationId xmlns:a16="http://schemas.microsoft.com/office/drawing/2014/main" id="{C16CDD7A-A640-4780-9E52-BC80697CB40F}"/>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E4BB6F41-E756-4D7E-99A8-129479FD7CB0}"/>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7A81408-5CE9-43A7-8A06-F8B139D54767}"/>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3</a:t>
            </a:fld>
            <a:endParaRPr lang="en-US" dirty="0">
              <a:solidFill>
                <a:srgbClr val="F79646">
                  <a:lumMod val="75000"/>
                </a:srgbClr>
              </a:solidFill>
            </a:endParaRPr>
          </a:p>
        </p:txBody>
      </p:sp>
    </p:spTree>
    <p:extLst>
      <p:ext uri="{BB962C8B-B14F-4D97-AF65-F5344CB8AC3E}">
        <p14:creationId xmlns:p14="http://schemas.microsoft.com/office/powerpoint/2010/main" val="115835818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44A23-7575-4ABC-AB71-B9653174405C}"/>
              </a:ext>
            </a:extLst>
          </p:cNvPr>
          <p:cNvSpPr>
            <a:spLocks noGrp="1"/>
          </p:cNvSpPr>
          <p:nvPr>
            <p:ph type="title"/>
          </p:nvPr>
        </p:nvSpPr>
        <p:spPr/>
        <p:txBody>
          <a:bodyPr/>
          <a:lstStyle/>
          <a:p>
            <a:r>
              <a:rPr lang="en-IN" dirty="0"/>
              <a:t>Quality, Health, Safety and Environment Policy 2/3</a:t>
            </a:r>
          </a:p>
        </p:txBody>
      </p:sp>
      <p:sp>
        <p:nvSpPr>
          <p:cNvPr id="3" name="Content Placeholder 2">
            <a:extLst>
              <a:ext uri="{FF2B5EF4-FFF2-40B4-BE49-F238E27FC236}">
                <a16:creationId xmlns:a16="http://schemas.microsoft.com/office/drawing/2014/main" id="{561E7D25-2280-4B01-9D06-84EE4F23D3E1}"/>
              </a:ext>
            </a:extLst>
          </p:cNvPr>
          <p:cNvSpPr>
            <a:spLocks noGrp="1"/>
          </p:cNvSpPr>
          <p:nvPr>
            <p:ph idx="1"/>
          </p:nvPr>
        </p:nvSpPr>
        <p:spPr/>
        <p:txBody>
          <a:bodyPr>
            <a:normAutofit fontScale="92500"/>
          </a:bodyPr>
          <a:lstStyle/>
          <a:p>
            <a:r>
              <a:rPr lang="en-IN" dirty="0"/>
              <a:t>Inventys is committed to</a:t>
            </a:r>
          </a:p>
          <a:p>
            <a:pPr lvl="1"/>
            <a:r>
              <a:rPr lang="en-IN" dirty="0"/>
              <a:t>Carry out all its activities in such a way that it avoids any harm to employees, contractors and to the environment.</a:t>
            </a:r>
          </a:p>
          <a:p>
            <a:pPr lvl="1"/>
            <a:r>
              <a:rPr lang="en-IN" dirty="0"/>
              <a:t>Encourage employees and contractors to take care of their occupational health and personal safety.</a:t>
            </a:r>
          </a:p>
          <a:p>
            <a:pPr lvl="1"/>
            <a:r>
              <a:rPr lang="en-IN" dirty="0"/>
              <a:t>Enhance continually its environmental practices and performance.</a:t>
            </a:r>
          </a:p>
          <a:p>
            <a:pPr lvl="1"/>
            <a:r>
              <a:rPr lang="en-IN" dirty="0"/>
              <a:t>Reduce adverse impact on environment and minimize the risk to the peoples which may arise from its operational activities and transportations.</a:t>
            </a:r>
          </a:p>
          <a:p>
            <a:pPr lvl="1"/>
            <a:r>
              <a:rPr lang="en-IN" dirty="0"/>
              <a:t>Manage all energy resources in a responsible way to minimize emissions and reduce waste generation.</a:t>
            </a:r>
          </a:p>
          <a:p>
            <a:pPr lvl="1"/>
            <a:r>
              <a:rPr lang="en-IN" dirty="0"/>
              <a:t>Comply all statutory requirements related with Quality, Safety, Health and Environment.</a:t>
            </a:r>
          </a:p>
          <a:p>
            <a:pPr lvl="1"/>
            <a:r>
              <a:rPr lang="en-IN" dirty="0"/>
              <a:t>Develop safe working environment through regular learnings, trainings and practicing Quality, Health, Safety and Environment Systems and Procedures among all its employees and contractors.</a:t>
            </a:r>
          </a:p>
        </p:txBody>
      </p:sp>
      <p:sp>
        <p:nvSpPr>
          <p:cNvPr id="4" name="Date Placeholder 3">
            <a:extLst>
              <a:ext uri="{FF2B5EF4-FFF2-40B4-BE49-F238E27FC236}">
                <a16:creationId xmlns:a16="http://schemas.microsoft.com/office/drawing/2014/main" id="{06F115EA-9754-453C-ACC0-C9BC9CDFE170}"/>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405376F5-F249-4568-ABB3-2B319361E631}"/>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EEA2E616-FA9B-4EBC-9020-6BEAA18D2EAB}"/>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4</a:t>
            </a:fld>
            <a:endParaRPr lang="en-US" dirty="0">
              <a:solidFill>
                <a:srgbClr val="F79646">
                  <a:lumMod val="75000"/>
                </a:srgbClr>
              </a:solidFill>
            </a:endParaRPr>
          </a:p>
        </p:txBody>
      </p:sp>
    </p:spTree>
    <p:extLst>
      <p:ext uri="{BB962C8B-B14F-4D97-AF65-F5344CB8AC3E}">
        <p14:creationId xmlns:p14="http://schemas.microsoft.com/office/powerpoint/2010/main" val="52741966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04F56-6B99-4A10-A84F-857033BC974B}"/>
              </a:ext>
            </a:extLst>
          </p:cNvPr>
          <p:cNvSpPr>
            <a:spLocks noGrp="1"/>
          </p:cNvSpPr>
          <p:nvPr>
            <p:ph type="title"/>
          </p:nvPr>
        </p:nvSpPr>
        <p:spPr/>
        <p:txBody>
          <a:bodyPr/>
          <a:lstStyle/>
          <a:p>
            <a:r>
              <a:rPr lang="en-IN" dirty="0"/>
              <a:t>Quality, Health, Safety and Environment Policy 3/3</a:t>
            </a:r>
          </a:p>
        </p:txBody>
      </p:sp>
      <p:graphicFrame>
        <p:nvGraphicFramePr>
          <p:cNvPr id="7" name="Content Placeholder 6">
            <a:extLst>
              <a:ext uri="{FF2B5EF4-FFF2-40B4-BE49-F238E27FC236}">
                <a16:creationId xmlns:a16="http://schemas.microsoft.com/office/drawing/2014/main" id="{0A9031EA-328C-4CAB-9068-6F25139584FF}"/>
              </a:ext>
            </a:extLst>
          </p:cNvPr>
          <p:cNvGraphicFramePr>
            <a:graphicFrameLocks noGrp="1"/>
          </p:cNvGraphicFramePr>
          <p:nvPr>
            <p:ph idx="1"/>
            <p:extLst>
              <p:ext uri="{D42A27DB-BD31-4B8C-83A1-F6EECF244321}">
                <p14:modId xmlns:p14="http://schemas.microsoft.com/office/powerpoint/2010/main" val="1023777323"/>
              </p:ext>
            </p:extLst>
          </p:nvPr>
        </p:nvGraphicFramePr>
        <p:xfrm>
          <a:off x="234950" y="1143000"/>
          <a:ext cx="9212264" cy="4516067"/>
        </p:xfrm>
        <a:graphic>
          <a:graphicData uri="http://schemas.openxmlformats.org/drawingml/2006/table">
            <a:tbl>
              <a:tblPr firstRow="1" bandRow="1">
                <a:tableStyleId>{5C22544A-7EE6-4342-B048-85BDC9FD1C3A}</a:tableStyleId>
              </a:tblPr>
              <a:tblGrid>
                <a:gridCol w="4606132">
                  <a:extLst>
                    <a:ext uri="{9D8B030D-6E8A-4147-A177-3AD203B41FA5}">
                      <a16:colId xmlns:a16="http://schemas.microsoft.com/office/drawing/2014/main" val="302248131"/>
                    </a:ext>
                  </a:extLst>
                </a:gridCol>
                <a:gridCol w="4606132">
                  <a:extLst>
                    <a:ext uri="{9D8B030D-6E8A-4147-A177-3AD203B41FA5}">
                      <a16:colId xmlns:a16="http://schemas.microsoft.com/office/drawing/2014/main" val="3401121418"/>
                    </a:ext>
                  </a:extLst>
                </a:gridCol>
              </a:tblGrid>
              <a:tr h="431243">
                <a:tc gridSpan="2">
                  <a:txBody>
                    <a:bodyPr/>
                    <a:lstStyle/>
                    <a:p>
                      <a:r>
                        <a:rPr lang="en-IN" dirty="0"/>
                        <a:t>Inventys strives to achieve these objectives by</a:t>
                      </a:r>
                    </a:p>
                  </a:txBody>
                  <a:tcPr/>
                </a:tc>
                <a:tc hMerge="1">
                  <a:txBody>
                    <a:bodyPr/>
                    <a:lstStyle/>
                    <a:p>
                      <a:endParaRPr lang="en-IN" dirty="0"/>
                    </a:p>
                  </a:txBody>
                  <a:tcPr/>
                </a:tc>
                <a:extLst>
                  <a:ext uri="{0D108BD9-81ED-4DB2-BD59-A6C34878D82A}">
                    <a16:rowId xmlns:a16="http://schemas.microsoft.com/office/drawing/2014/main" val="2288867139"/>
                  </a:ext>
                </a:extLst>
              </a:tr>
              <a:tr h="436772">
                <a:tc>
                  <a:txBody>
                    <a:bodyPr/>
                    <a:lstStyle/>
                    <a:p>
                      <a:pPr marL="68580" marR="5080">
                        <a:spcAft>
                          <a:spcPts val="0"/>
                        </a:spcAft>
                      </a:pPr>
                      <a:r>
                        <a:rPr lang="en-US" sz="1100" b="0" dirty="0">
                          <a:effectLst/>
                          <a:latin typeface="Verdana" panose="020B0604030504040204" pitchFamily="34" charset="0"/>
                          <a:ea typeface="Verdana" panose="020B0604030504040204" pitchFamily="34" charset="0"/>
                        </a:rPr>
                        <a:t>Operating</a:t>
                      </a:r>
                      <a:r>
                        <a:rPr lang="en-US" sz="1100" b="0" spc="-2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the</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lant</a:t>
                      </a:r>
                      <a:r>
                        <a:rPr lang="en-US" sz="1100" b="0" spc="-3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with</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rovisions</a:t>
                      </a:r>
                      <a:r>
                        <a:rPr lang="en-US" sz="1100" b="0" spc="-3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of</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dequate</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safeguards to establish effective process safety.</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3">
                        <a:lumMod val="20000"/>
                        <a:lumOff val="80000"/>
                      </a:schemeClr>
                    </a:solidFill>
                  </a:tcPr>
                </a:tc>
                <a:tc>
                  <a:txBody>
                    <a:bodyPr/>
                    <a:lstStyle/>
                    <a:p>
                      <a:pPr marL="66675" marR="62230" algn="l">
                        <a:lnSpc>
                          <a:spcPts val="1150"/>
                        </a:lnSpc>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Investigating all incidents relating to Quality, Health, Safety and Environment and implementation of corrective action on all incidents.</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3">
                        <a:lumMod val="20000"/>
                        <a:lumOff val="80000"/>
                      </a:schemeClr>
                    </a:solidFill>
                  </a:tcPr>
                </a:tc>
                <a:extLst>
                  <a:ext uri="{0D108BD9-81ED-4DB2-BD59-A6C34878D82A}">
                    <a16:rowId xmlns:a16="http://schemas.microsoft.com/office/drawing/2014/main" val="1460858991"/>
                  </a:ext>
                </a:extLst>
              </a:tr>
              <a:tr h="601775">
                <a:tc>
                  <a:txBody>
                    <a:bodyPr/>
                    <a:lstStyle/>
                    <a:p>
                      <a:pPr marL="68580" marR="62230" algn="just">
                        <a:spcAft>
                          <a:spcPts val="0"/>
                        </a:spcAft>
                      </a:pPr>
                      <a:r>
                        <a:rPr lang="en-US" sz="1100" b="0" dirty="0">
                          <a:effectLst/>
                          <a:latin typeface="Verdana" panose="020B0604030504040204" pitchFamily="34" charset="0"/>
                          <a:ea typeface="Verdana" panose="020B0604030504040204" pitchFamily="34" charset="0"/>
                        </a:rPr>
                        <a:t>Continuous process development with well defined systems to improve process and operational criterion and stringent applications of the same.</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1">
                        <a:lumMod val="40000"/>
                        <a:lumOff val="60000"/>
                      </a:schemeClr>
                    </a:solidFill>
                  </a:tcPr>
                </a:tc>
                <a:tc>
                  <a:txBody>
                    <a:bodyPr/>
                    <a:lstStyle/>
                    <a:p>
                      <a:pPr marL="66675" marR="64135" algn="l">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Providing trainings to employees about outcome of investigations of incidents occurred internally or externally and steps to be taken to avoid such incidents in</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p>
                      <a:pPr marL="66675" algn="l">
                        <a:lnSpc>
                          <a:spcPts val="1045"/>
                        </a:lnSpc>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future.</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1">
                        <a:lumMod val="40000"/>
                        <a:lumOff val="60000"/>
                      </a:schemeClr>
                    </a:solidFill>
                  </a:tcPr>
                </a:tc>
                <a:extLst>
                  <a:ext uri="{0D108BD9-81ED-4DB2-BD59-A6C34878D82A}">
                    <a16:rowId xmlns:a16="http://schemas.microsoft.com/office/drawing/2014/main" val="1370119822"/>
                  </a:ext>
                </a:extLst>
              </a:tr>
              <a:tr h="587216">
                <a:tc>
                  <a:txBody>
                    <a:bodyPr/>
                    <a:lstStyle/>
                    <a:p>
                      <a:pPr marL="68580" marR="5080">
                        <a:spcAft>
                          <a:spcPts val="0"/>
                        </a:spcAft>
                      </a:pPr>
                      <a:r>
                        <a:rPr lang="en-US" sz="1100" b="0" dirty="0">
                          <a:effectLst/>
                          <a:latin typeface="Verdana" panose="020B0604030504040204" pitchFamily="34" charset="0"/>
                          <a:ea typeface="Verdana" panose="020B0604030504040204" pitchFamily="34" charset="0"/>
                        </a:rPr>
                        <a:t>Applying</a:t>
                      </a:r>
                      <a:r>
                        <a:rPr lang="en-US" sz="1100" b="0" spc="16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Standard</a:t>
                      </a:r>
                      <a:r>
                        <a:rPr lang="en-US" sz="1100" b="0" spc="16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Operating</a:t>
                      </a:r>
                      <a:r>
                        <a:rPr lang="en-US" sz="1100" b="0" spc="16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rocedures</a:t>
                      </a:r>
                      <a:r>
                        <a:rPr lang="en-US" sz="1100" b="0" spc="16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for</a:t>
                      </a:r>
                      <a:r>
                        <a:rPr lang="en-US" sz="1100" b="0" spc="16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operations, maintenance, and emergency situations</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1">
                        <a:lumMod val="40000"/>
                        <a:lumOff val="60000"/>
                      </a:schemeClr>
                    </a:solidFill>
                  </a:tcPr>
                </a:tc>
                <a:tc>
                  <a:txBody>
                    <a:bodyPr/>
                    <a:lstStyle/>
                    <a:p>
                      <a:pPr marL="66675" algn="l">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Identifying and evaluating a factual base to define the likelihood  of  adverse  health  effects  of  workplace-</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p>
                      <a:pPr marL="66675" algn="l">
                        <a:lnSpc>
                          <a:spcPts val="1140"/>
                        </a:lnSpc>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associated injuries and exposures and carrying out pre- employment and periodic health check up of its employees</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1">
                        <a:lumMod val="40000"/>
                        <a:lumOff val="60000"/>
                      </a:schemeClr>
                    </a:solidFill>
                  </a:tcPr>
                </a:tc>
                <a:extLst>
                  <a:ext uri="{0D108BD9-81ED-4DB2-BD59-A6C34878D82A}">
                    <a16:rowId xmlns:a16="http://schemas.microsoft.com/office/drawing/2014/main" val="708202489"/>
                  </a:ext>
                </a:extLst>
              </a:tr>
              <a:tr h="431243">
                <a:tc>
                  <a:txBody>
                    <a:bodyPr/>
                    <a:lstStyle/>
                    <a:p>
                      <a:pPr marL="68580" marR="5080">
                        <a:lnSpc>
                          <a:spcPts val="1150"/>
                        </a:lnSpc>
                        <a:spcAft>
                          <a:spcPts val="0"/>
                        </a:spcAft>
                      </a:pPr>
                      <a:r>
                        <a:rPr lang="en-US" sz="1100" b="0" dirty="0">
                          <a:effectLst/>
                          <a:latin typeface="Verdana" panose="020B0604030504040204" pitchFamily="34" charset="0"/>
                          <a:ea typeface="Verdana" panose="020B0604030504040204" pitchFamily="34" charset="0"/>
                        </a:rPr>
                        <a:t>Inspecting</a:t>
                      </a:r>
                      <a:r>
                        <a:rPr lang="en-US" sz="1100" b="0" spc="11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nd</a:t>
                      </a:r>
                      <a:r>
                        <a:rPr lang="en-US" sz="1100" b="0" spc="9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updating</a:t>
                      </a:r>
                      <a:r>
                        <a:rPr lang="en-US" sz="1100" b="0" spc="11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existing</a:t>
                      </a:r>
                      <a:r>
                        <a:rPr lang="en-US" sz="1100" b="0" spc="11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systems</a:t>
                      </a:r>
                      <a:r>
                        <a:rPr lang="en-US" sz="1100" b="0" spc="10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nd</a:t>
                      </a:r>
                      <a:r>
                        <a:rPr lang="en-US" sz="1100" b="0" spc="9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rocedures on regular basis.</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1">
                        <a:lumMod val="40000"/>
                        <a:lumOff val="60000"/>
                      </a:schemeClr>
                    </a:solidFill>
                  </a:tcPr>
                </a:tc>
                <a:tc>
                  <a:txBody>
                    <a:bodyPr/>
                    <a:lstStyle/>
                    <a:p>
                      <a:pPr marL="66675" marR="63500" algn="l">
                        <a:lnSpc>
                          <a:spcPts val="1150"/>
                        </a:lnSpc>
                        <a:spcAft>
                          <a:spcPts val="0"/>
                        </a:spcAft>
                        <a:tabLst>
                          <a:tab pos="911225" algn="l"/>
                          <a:tab pos="1522730" algn="l"/>
                          <a:tab pos="1838325" algn="l"/>
                          <a:tab pos="2547620" algn="l"/>
                        </a:tabLst>
                      </a:pPr>
                      <a:r>
                        <a:rPr lang="en-US" sz="1100" b="0" kern="1200" dirty="0">
                          <a:solidFill>
                            <a:schemeClr val="dk1"/>
                          </a:solidFill>
                          <a:effectLst/>
                          <a:latin typeface="Verdana" panose="020B0604030504040204" pitchFamily="34" charset="0"/>
                          <a:ea typeface="Verdana" panose="020B0604030504040204" pitchFamily="34" charset="0"/>
                          <a:cs typeface="+mn-cs"/>
                        </a:rPr>
                        <a:t>Implementing programs and appropriate protective measures to control such risks</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3">
                        <a:lumMod val="20000"/>
                        <a:lumOff val="80000"/>
                      </a:schemeClr>
                    </a:solidFill>
                  </a:tcPr>
                </a:tc>
                <a:extLst>
                  <a:ext uri="{0D108BD9-81ED-4DB2-BD59-A6C34878D82A}">
                    <a16:rowId xmlns:a16="http://schemas.microsoft.com/office/drawing/2014/main" val="4203834087"/>
                  </a:ext>
                </a:extLst>
              </a:tr>
              <a:tr h="436772">
                <a:tc>
                  <a:txBody>
                    <a:bodyPr/>
                    <a:lstStyle/>
                    <a:p>
                      <a:pPr marL="68580" marR="61595" algn="just">
                        <a:lnSpc>
                          <a:spcPts val="1150"/>
                        </a:lnSpc>
                        <a:spcAft>
                          <a:spcPts val="0"/>
                        </a:spcAft>
                      </a:pPr>
                      <a:r>
                        <a:rPr lang="en-US" sz="1100" b="0" dirty="0">
                          <a:effectLst/>
                          <a:latin typeface="Verdana" panose="020B0604030504040204" pitchFamily="34" charset="0"/>
                          <a:ea typeface="Verdana" panose="020B0604030504040204" pitchFamily="34" charset="0"/>
                        </a:rPr>
                        <a:t>Providing Trainings to employees and contractors on quality, health, safety, and environmental practices followed by company.</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1">
                        <a:lumMod val="40000"/>
                        <a:lumOff val="60000"/>
                      </a:schemeClr>
                    </a:solidFill>
                  </a:tcPr>
                </a:tc>
                <a:tc>
                  <a:txBody>
                    <a:bodyPr/>
                    <a:lstStyle/>
                    <a:p>
                      <a:pPr marL="66675" marR="62865" algn="l">
                        <a:lnSpc>
                          <a:spcPts val="1150"/>
                        </a:lnSpc>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Regular monitoring of work environment and plant waste generations and taking measures to achieve better environmental performance.</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6">
                        <a:lumMod val="20000"/>
                        <a:lumOff val="80000"/>
                      </a:schemeClr>
                    </a:solidFill>
                  </a:tcPr>
                </a:tc>
                <a:extLst>
                  <a:ext uri="{0D108BD9-81ED-4DB2-BD59-A6C34878D82A}">
                    <a16:rowId xmlns:a16="http://schemas.microsoft.com/office/drawing/2014/main" val="1754141934"/>
                  </a:ext>
                </a:extLst>
              </a:tr>
              <a:tr h="531669">
                <a:tc>
                  <a:txBody>
                    <a:bodyPr/>
                    <a:lstStyle/>
                    <a:p>
                      <a:pPr marL="68580" marR="61595" algn="just">
                        <a:lnSpc>
                          <a:spcPts val="1150"/>
                        </a:lnSpc>
                        <a:spcAft>
                          <a:spcPts val="0"/>
                        </a:spcAft>
                      </a:pPr>
                      <a:r>
                        <a:rPr lang="en-US" sz="1100" b="0" dirty="0">
                          <a:effectLst/>
                          <a:latin typeface="Verdana" panose="020B0604030504040204" pitchFamily="34" charset="0"/>
                          <a:ea typeface="Verdana" panose="020B0604030504040204" pitchFamily="34" charset="0"/>
                        </a:rPr>
                        <a:t>Providing safe &amp; healthy working conditions for the prevention of work-related injury and ill health by using adequate</a:t>
                      </a:r>
                      <a:r>
                        <a:rPr lang="en-US" sz="1100" b="0" spc="-3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ersonal</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rotective</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equipment,</a:t>
                      </a:r>
                      <a:r>
                        <a:rPr lang="en-US" sz="1100" b="0" spc="-2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tools,</a:t>
                      </a:r>
                      <a:r>
                        <a:rPr lang="en-US" sz="1100" b="0" spc="-2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nd</a:t>
                      </a:r>
                      <a:r>
                        <a:rPr lang="en-US" sz="1100" b="0" spc="-35" dirty="0">
                          <a:effectLst/>
                          <a:latin typeface="Verdana" panose="020B0604030504040204" pitchFamily="34" charset="0"/>
                          <a:ea typeface="Verdana" panose="020B0604030504040204" pitchFamily="34" charset="0"/>
                        </a:rPr>
                        <a:t> </a:t>
                      </a:r>
                      <a:r>
                        <a:rPr lang="en-US" sz="1100" b="0" spc="-10" dirty="0">
                          <a:effectLst/>
                          <a:latin typeface="Verdana" panose="020B0604030504040204" pitchFamily="34" charset="0"/>
                          <a:ea typeface="Verdana" panose="020B0604030504040204" pitchFamily="34" charset="0"/>
                        </a:rPr>
                        <a:t>tackles.</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3">
                        <a:lumMod val="20000"/>
                        <a:lumOff val="80000"/>
                      </a:schemeClr>
                    </a:solidFill>
                  </a:tcPr>
                </a:tc>
                <a:tc>
                  <a:txBody>
                    <a:bodyPr/>
                    <a:lstStyle/>
                    <a:p>
                      <a:pPr marL="66675" algn="l">
                        <a:spcBef>
                          <a:spcPts val="5"/>
                        </a:spcBef>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Communicating with local authorities on operations, likely hazards, and emergency response systems</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1">
                        <a:lumMod val="40000"/>
                        <a:lumOff val="60000"/>
                      </a:schemeClr>
                    </a:solidFill>
                  </a:tcPr>
                </a:tc>
                <a:extLst>
                  <a:ext uri="{0D108BD9-81ED-4DB2-BD59-A6C34878D82A}">
                    <a16:rowId xmlns:a16="http://schemas.microsoft.com/office/drawing/2014/main" val="3433459352"/>
                  </a:ext>
                </a:extLst>
              </a:tr>
              <a:tr h="431243">
                <a:tc>
                  <a:txBody>
                    <a:bodyPr/>
                    <a:lstStyle/>
                    <a:p>
                      <a:pPr marL="68580" marR="5080">
                        <a:lnSpc>
                          <a:spcPts val="1140"/>
                        </a:lnSpc>
                        <a:spcAft>
                          <a:spcPts val="0"/>
                        </a:spcAft>
                      </a:pPr>
                      <a:r>
                        <a:rPr lang="en-US" sz="1100" b="0" dirty="0">
                          <a:effectLst/>
                          <a:latin typeface="Verdana" panose="020B0604030504040204" pitchFamily="34" charset="0"/>
                          <a:ea typeface="Verdana" panose="020B0604030504040204" pitchFamily="34" charset="0"/>
                        </a:rPr>
                        <a:t>Regular</a:t>
                      </a:r>
                      <a:r>
                        <a:rPr lang="en-US" sz="1100" b="0" spc="15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uditing</a:t>
                      </a:r>
                      <a:r>
                        <a:rPr lang="en-US" sz="1100" b="0" spc="14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of</a:t>
                      </a:r>
                      <a:r>
                        <a:rPr lang="en-US" sz="1100" b="0" spc="15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external</a:t>
                      </a:r>
                      <a:r>
                        <a:rPr lang="en-US" sz="1100" b="0" spc="14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and</a:t>
                      </a:r>
                      <a:r>
                        <a:rPr lang="en-US" sz="1100" b="0" spc="155"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internal</a:t>
                      </a:r>
                      <a:r>
                        <a:rPr lang="en-US" sz="1100" b="0" spc="14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work</a:t>
                      </a:r>
                      <a:r>
                        <a:rPr lang="en-US" sz="1100" b="0" spc="140" dirty="0">
                          <a:effectLst/>
                          <a:latin typeface="Verdana" panose="020B0604030504040204" pitchFamily="34" charset="0"/>
                          <a:ea typeface="Verdana" panose="020B0604030504040204" pitchFamily="34" charset="0"/>
                        </a:rPr>
                        <a:t> </a:t>
                      </a:r>
                      <a:r>
                        <a:rPr lang="en-US" sz="1100" b="0" dirty="0">
                          <a:effectLst/>
                          <a:latin typeface="Verdana" panose="020B0604030504040204" pitchFamily="34" charset="0"/>
                          <a:ea typeface="Verdana" panose="020B0604030504040204" pitchFamily="34" charset="0"/>
                        </a:rPr>
                        <a:t>practices and procedures</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1">
                        <a:lumMod val="40000"/>
                        <a:lumOff val="60000"/>
                      </a:schemeClr>
                    </a:solidFill>
                  </a:tcPr>
                </a:tc>
                <a:tc>
                  <a:txBody>
                    <a:bodyPr/>
                    <a:lstStyle/>
                    <a:p>
                      <a:pPr marL="66675" algn="l">
                        <a:lnSpc>
                          <a:spcPts val="1140"/>
                        </a:lnSpc>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Keeping abreast of latest international codes, standards and practices and adopting the same where applicable.</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solidFill>
                      <a:schemeClr val="accent1">
                        <a:lumMod val="40000"/>
                        <a:lumOff val="60000"/>
                      </a:schemeClr>
                    </a:solidFill>
                  </a:tcPr>
                </a:tc>
                <a:extLst>
                  <a:ext uri="{0D108BD9-81ED-4DB2-BD59-A6C34878D82A}">
                    <a16:rowId xmlns:a16="http://schemas.microsoft.com/office/drawing/2014/main" val="523075960"/>
                  </a:ext>
                </a:extLst>
              </a:tr>
              <a:tr h="531669">
                <a:tc>
                  <a:txBody>
                    <a:bodyPr/>
                    <a:lstStyle/>
                    <a:p>
                      <a:pPr marL="68580" marR="64135" lvl="0" indent="0" algn="just" defTabSz="859627" rtl="0" eaLnBrk="1" fontAlgn="auto" latinLnBrk="0" hangingPunct="1">
                        <a:lnSpc>
                          <a:spcPts val="1150"/>
                        </a:lnSpc>
                        <a:spcBef>
                          <a:spcPts val="0"/>
                        </a:spcBef>
                        <a:spcAft>
                          <a:spcPts val="0"/>
                        </a:spcAft>
                        <a:buClrTx/>
                        <a:buSzTx/>
                        <a:buFontTx/>
                        <a:buNone/>
                        <a:tabLst/>
                        <a:defRPr/>
                      </a:pPr>
                      <a:r>
                        <a:rPr lang="en-US" sz="1100" b="0" dirty="0">
                          <a:effectLst/>
                          <a:latin typeface="Verdana" panose="020B0604030504040204" pitchFamily="34" charset="0"/>
                          <a:ea typeface="Verdana" panose="020B0604030504040204" pitchFamily="34" charset="0"/>
                        </a:rPr>
                        <a:t>Eliminating hazards and reduce OH &amp; S risks and to ensure integrity of assets, through consultation &amp; participation of workers and other stake holders</a:t>
                      </a:r>
                      <a:endParaRPr lang="en-IN" sz="1100" b="0" dirty="0">
                        <a:effectLst/>
                        <a:latin typeface="Verdana" panose="020B0604030504040204" pitchFamily="34" charset="0"/>
                        <a:ea typeface="Verdana" panose="020B0604030504040204" pitchFamily="34" charset="0"/>
                        <a:cs typeface="Times New Roman" panose="02020603050405020304" pitchFamily="18" charset="0"/>
                      </a:endParaRPr>
                    </a:p>
                  </a:txBody>
                  <a:tcPr marL="0" marR="0" marT="0" marB="0">
                    <a:solidFill>
                      <a:schemeClr val="accent3">
                        <a:lumMod val="20000"/>
                        <a:lumOff val="80000"/>
                      </a:schemeClr>
                    </a:solidFill>
                  </a:tcPr>
                </a:tc>
                <a:tc>
                  <a:txBody>
                    <a:bodyPr/>
                    <a:lstStyle/>
                    <a:p>
                      <a:pPr marL="66675">
                        <a:spcAft>
                          <a:spcPts val="0"/>
                        </a:spcAft>
                      </a:pPr>
                      <a:r>
                        <a:rPr lang="en-US" sz="1100" b="0" kern="1200" dirty="0">
                          <a:solidFill>
                            <a:schemeClr val="dk1"/>
                          </a:solidFill>
                          <a:effectLst/>
                          <a:latin typeface="Verdana" panose="020B0604030504040204" pitchFamily="34" charset="0"/>
                          <a:ea typeface="Verdana" panose="020B0604030504040204" pitchFamily="34" charset="0"/>
                          <a:cs typeface="+mn-cs"/>
                        </a:rPr>
                        <a:t> </a:t>
                      </a:r>
                      <a:endParaRPr lang="en-IN" sz="1100" b="0" kern="1200" dirty="0">
                        <a:solidFill>
                          <a:schemeClr val="dk1"/>
                        </a:solidFill>
                        <a:effectLst/>
                        <a:latin typeface="Verdana" panose="020B0604030504040204" pitchFamily="34" charset="0"/>
                        <a:ea typeface="Verdana" panose="020B0604030504040204" pitchFamily="34" charset="0"/>
                        <a:cs typeface="+mn-cs"/>
                      </a:endParaRPr>
                    </a:p>
                  </a:txBody>
                  <a:tcPr marL="0" marR="0" marT="0" marB="0"/>
                </a:tc>
                <a:extLst>
                  <a:ext uri="{0D108BD9-81ED-4DB2-BD59-A6C34878D82A}">
                    <a16:rowId xmlns:a16="http://schemas.microsoft.com/office/drawing/2014/main" val="1977652843"/>
                  </a:ext>
                </a:extLst>
              </a:tr>
            </a:tbl>
          </a:graphicData>
        </a:graphic>
      </p:graphicFrame>
      <p:sp>
        <p:nvSpPr>
          <p:cNvPr id="4" name="Date Placeholder 3">
            <a:extLst>
              <a:ext uri="{FF2B5EF4-FFF2-40B4-BE49-F238E27FC236}">
                <a16:creationId xmlns:a16="http://schemas.microsoft.com/office/drawing/2014/main" id="{025BAF57-7563-4FBB-AE89-2855159153C8}"/>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6D405570-9610-4E4F-A8CE-551C2DFBEAE1}"/>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AF8781AD-FA22-4D4F-A3CC-429806D6CB94}"/>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5</a:t>
            </a:fld>
            <a:endParaRPr lang="en-US" dirty="0">
              <a:solidFill>
                <a:srgbClr val="F79646">
                  <a:lumMod val="75000"/>
                </a:srgbClr>
              </a:solidFill>
            </a:endParaRPr>
          </a:p>
        </p:txBody>
      </p:sp>
      <p:sp>
        <p:nvSpPr>
          <p:cNvPr id="9" name="TextBox 8">
            <a:extLst>
              <a:ext uri="{FF2B5EF4-FFF2-40B4-BE49-F238E27FC236}">
                <a16:creationId xmlns:a16="http://schemas.microsoft.com/office/drawing/2014/main" id="{11D2E598-A1F7-4782-A913-D247909D0834}"/>
              </a:ext>
            </a:extLst>
          </p:cNvPr>
          <p:cNvSpPr txBox="1"/>
          <p:nvPr/>
        </p:nvSpPr>
        <p:spPr>
          <a:xfrm>
            <a:off x="7772400" y="5753008"/>
            <a:ext cx="1295400" cy="369332"/>
          </a:xfrm>
          <a:prstGeom prst="rect">
            <a:avLst/>
          </a:prstGeom>
          <a:solidFill>
            <a:schemeClr val="accent3">
              <a:lumMod val="20000"/>
              <a:lumOff val="80000"/>
            </a:schemeClr>
          </a:solidFill>
        </p:spPr>
        <p:txBody>
          <a:bodyPr wrap="square" rtlCol="0">
            <a:spAutoFit/>
          </a:bodyPr>
          <a:lstStyle/>
          <a:p>
            <a:r>
              <a:rPr lang="en-US" dirty="0"/>
              <a:t>Operations</a:t>
            </a:r>
            <a:endParaRPr lang="en-IN" dirty="0"/>
          </a:p>
        </p:txBody>
      </p:sp>
      <p:sp>
        <p:nvSpPr>
          <p:cNvPr id="10" name="TextBox 9">
            <a:extLst>
              <a:ext uri="{FF2B5EF4-FFF2-40B4-BE49-F238E27FC236}">
                <a16:creationId xmlns:a16="http://schemas.microsoft.com/office/drawing/2014/main" id="{3E9ADAF7-BDDC-4A3D-9234-808F69D073A1}"/>
              </a:ext>
            </a:extLst>
          </p:cNvPr>
          <p:cNvSpPr txBox="1"/>
          <p:nvPr/>
        </p:nvSpPr>
        <p:spPr>
          <a:xfrm>
            <a:off x="2971800" y="5726668"/>
            <a:ext cx="3505200" cy="369332"/>
          </a:xfrm>
          <a:prstGeom prst="rect">
            <a:avLst/>
          </a:prstGeom>
          <a:solidFill>
            <a:schemeClr val="accent6">
              <a:lumMod val="20000"/>
              <a:lumOff val="80000"/>
            </a:schemeClr>
          </a:solidFill>
        </p:spPr>
        <p:txBody>
          <a:bodyPr wrap="square" rtlCol="0">
            <a:spAutoFit/>
          </a:bodyPr>
          <a:lstStyle/>
          <a:p>
            <a:r>
              <a:rPr lang="en-US" dirty="0"/>
              <a:t>Environment &amp; Waste Disposal</a:t>
            </a:r>
            <a:endParaRPr lang="en-IN" dirty="0"/>
          </a:p>
        </p:txBody>
      </p:sp>
      <p:sp>
        <p:nvSpPr>
          <p:cNvPr id="11" name="TextBox 10">
            <a:extLst>
              <a:ext uri="{FF2B5EF4-FFF2-40B4-BE49-F238E27FC236}">
                <a16:creationId xmlns:a16="http://schemas.microsoft.com/office/drawing/2014/main" id="{8E1F1939-5C6B-4B1B-A5B4-1DD292631888}"/>
              </a:ext>
            </a:extLst>
          </p:cNvPr>
          <p:cNvSpPr txBox="1"/>
          <p:nvPr/>
        </p:nvSpPr>
        <p:spPr>
          <a:xfrm>
            <a:off x="1905000" y="5723872"/>
            <a:ext cx="914400" cy="369332"/>
          </a:xfrm>
          <a:prstGeom prst="rect">
            <a:avLst/>
          </a:prstGeom>
          <a:solidFill>
            <a:schemeClr val="accent1">
              <a:lumMod val="40000"/>
              <a:lumOff val="60000"/>
            </a:schemeClr>
          </a:solidFill>
        </p:spPr>
        <p:txBody>
          <a:bodyPr wrap="square" rtlCol="0">
            <a:spAutoFit/>
          </a:bodyPr>
          <a:lstStyle/>
          <a:p>
            <a:r>
              <a:rPr lang="en-US" dirty="0"/>
              <a:t>Quality</a:t>
            </a:r>
            <a:endParaRPr lang="en-IN" dirty="0"/>
          </a:p>
        </p:txBody>
      </p:sp>
      <p:sp>
        <p:nvSpPr>
          <p:cNvPr id="12" name="TextBox 11">
            <a:extLst>
              <a:ext uri="{FF2B5EF4-FFF2-40B4-BE49-F238E27FC236}">
                <a16:creationId xmlns:a16="http://schemas.microsoft.com/office/drawing/2014/main" id="{CCF423E8-5456-4E26-AAD8-4B828CAE57B1}"/>
              </a:ext>
            </a:extLst>
          </p:cNvPr>
          <p:cNvSpPr txBox="1"/>
          <p:nvPr/>
        </p:nvSpPr>
        <p:spPr>
          <a:xfrm>
            <a:off x="533400" y="5712495"/>
            <a:ext cx="1031051" cy="369332"/>
          </a:xfrm>
          <a:prstGeom prst="rect">
            <a:avLst/>
          </a:prstGeom>
          <a:noFill/>
        </p:spPr>
        <p:txBody>
          <a:bodyPr wrap="none" rtlCol="0">
            <a:spAutoFit/>
          </a:bodyPr>
          <a:lstStyle/>
          <a:p>
            <a:r>
              <a:rPr lang="en-US" dirty="0"/>
              <a:t>Legends</a:t>
            </a:r>
            <a:endParaRPr lang="en-IN" dirty="0"/>
          </a:p>
        </p:txBody>
      </p:sp>
    </p:spTree>
    <p:extLst>
      <p:ext uri="{BB962C8B-B14F-4D97-AF65-F5344CB8AC3E}">
        <p14:creationId xmlns:p14="http://schemas.microsoft.com/office/powerpoint/2010/main" val="269006118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C01E1FC-3725-498A-9019-57EDFAD2BD47}"/>
              </a:ext>
            </a:extLst>
          </p:cNvPr>
          <p:cNvSpPr>
            <a:spLocks noGrp="1"/>
          </p:cNvSpPr>
          <p:nvPr>
            <p:ph type="body" sz="half" idx="1"/>
          </p:nvPr>
        </p:nvSpPr>
        <p:spPr>
          <a:xfrm>
            <a:off x="247024" y="838200"/>
            <a:ext cx="4541405" cy="3733800"/>
          </a:xfrm>
        </p:spPr>
        <p:txBody>
          <a:bodyPr>
            <a:normAutofit fontScale="92500" lnSpcReduction="10000"/>
          </a:bodyPr>
          <a:lstStyle/>
          <a:p>
            <a:r>
              <a:rPr lang="en-IN" dirty="0"/>
              <a:t>Management System compliant with </a:t>
            </a:r>
            <a:br>
              <a:rPr lang="en-IN" dirty="0"/>
            </a:br>
            <a:r>
              <a:rPr lang="en-IN" dirty="0"/>
              <a:t> international standards</a:t>
            </a:r>
          </a:p>
          <a:p>
            <a:r>
              <a:rPr lang="en-IN" dirty="0"/>
              <a:t>INVENTYS Integrated Management System ensures alignment of management core processes</a:t>
            </a:r>
          </a:p>
          <a:p>
            <a:r>
              <a:rPr lang="en-IN" dirty="0"/>
              <a:t>Directives on key elements provide the underlying framework</a:t>
            </a:r>
          </a:p>
        </p:txBody>
      </p:sp>
      <p:sp>
        <p:nvSpPr>
          <p:cNvPr id="9" name="Text Placeholder 8">
            <a:extLst>
              <a:ext uri="{FF2B5EF4-FFF2-40B4-BE49-F238E27FC236}">
                <a16:creationId xmlns:a16="http://schemas.microsoft.com/office/drawing/2014/main" id="{4F231FEB-E366-484B-8AC6-B9851BEE6860}"/>
              </a:ext>
            </a:extLst>
          </p:cNvPr>
          <p:cNvSpPr>
            <a:spLocks noGrp="1"/>
          </p:cNvSpPr>
          <p:nvPr>
            <p:ph type="body" sz="half" idx="13"/>
          </p:nvPr>
        </p:nvSpPr>
        <p:spPr/>
        <p:txBody>
          <a:bodyPr/>
          <a:lstStyle/>
          <a:p>
            <a:r>
              <a:rPr lang="en-IN" dirty="0"/>
              <a:t>Focus are all core processes during the product life cycle</a:t>
            </a:r>
          </a:p>
        </p:txBody>
      </p:sp>
      <p:sp>
        <p:nvSpPr>
          <p:cNvPr id="4" name="Date Placeholder 3">
            <a:extLst>
              <a:ext uri="{FF2B5EF4-FFF2-40B4-BE49-F238E27FC236}">
                <a16:creationId xmlns:a16="http://schemas.microsoft.com/office/drawing/2014/main" id="{392CC1C4-DDD1-4CDF-8109-4262B7C18A51}"/>
              </a:ext>
            </a:extLst>
          </p:cNvPr>
          <p:cNvSpPr>
            <a:spLocks noGrp="1"/>
          </p:cNvSpPr>
          <p:nvPr>
            <p:ph type="dt" sz="half" idx="15"/>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F2A941EE-7239-476B-989E-B1EC5567A8DD}"/>
              </a:ext>
            </a:extLst>
          </p:cNvPr>
          <p:cNvSpPr>
            <a:spLocks noGrp="1"/>
          </p:cNvSpPr>
          <p:nvPr>
            <p:ph type="ftr" sz="quarter" idx="16"/>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B003EC6-DF9D-45F1-89ED-99EED4B17B5E}"/>
              </a:ext>
            </a:extLst>
          </p:cNvPr>
          <p:cNvSpPr>
            <a:spLocks noGrp="1"/>
          </p:cNvSpPr>
          <p:nvPr>
            <p:ph type="sldNum" sz="quarter" idx="17"/>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6</a:t>
            </a:fld>
            <a:endParaRPr lang="en-US" dirty="0">
              <a:solidFill>
                <a:srgbClr val="F79646">
                  <a:lumMod val="75000"/>
                </a:srgbClr>
              </a:solidFill>
            </a:endParaRPr>
          </a:p>
        </p:txBody>
      </p:sp>
      <p:sp>
        <p:nvSpPr>
          <p:cNvPr id="7" name="Title 6">
            <a:extLst>
              <a:ext uri="{FF2B5EF4-FFF2-40B4-BE49-F238E27FC236}">
                <a16:creationId xmlns:a16="http://schemas.microsoft.com/office/drawing/2014/main" id="{D250B639-359A-4650-92CD-97F50FFAF26E}"/>
              </a:ext>
            </a:extLst>
          </p:cNvPr>
          <p:cNvSpPr>
            <a:spLocks noGrp="1"/>
          </p:cNvSpPr>
          <p:nvPr>
            <p:ph type="title"/>
          </p:nvPr>
        </p:nvSpPr>
        <p:spPr/>
        <p:txBody>
          <a:bodyPr/>
          <a:lstStyle/>
          <a:p>
            <a:r>
              <a:rPr lang="en-IN" dirty="0"/>
              <a:t>Management System &amp; Quality Excellence </a:t>
            </a:r>
          </a:p>
        </p:txBody>
      </p:sp>
      <p:graphicFrame>
        <p:nvGraphicFramePr>
          <p:cNvPr id="12" name="Diagramm 7">
            <a:extLst>
              <a:ext uri="{FF2B5EF4-FFF2-40B4-BE49-F238E27FC236}">
                <a16:creationId xmlns:a16="http://schemas.microsoft.com/office/drawing/2014/main" id="{6C08D941-C2EB-4455-83AC-7F2844A6EA93}"/>
              </a:ext>
            </a:extLst>
          </p:cNvPr>
          <p:cNvGraphicFramePr/>
          <p:nvPr>
            <p:extLst>
              <p:ext uri="{D42A27DB-BD31-4B8C-83A1-F6EECF244321}">
                <p14:modId xmlns:p14="http://schemas.microsoft.com/office/powerpoint/2010/main" val="65346603"/>
              </p:ext>
            </p:extLst>
          </p:nvPr>
        </p:nvGraphicFramePr>
        <p:xfrm>
          <a:off x="5082309" y="1828800"/>
          <a:ext cx="4191000" cy="27291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3">
            <a:extLst>
              <a:ext uri="{FF2B5EF4-FFF2-40B4-BE49-F238E27FC236}">
                <a16:creationId xmlns:a16="http://schemas.microsoft.com/office/drawing/2014/main" id="{917157CF-1153-490B-905E-B94D20422B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5312" y="4572000"/>
            <a:ext cx="8777288"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88471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D5D243D-7865-4035-B10D-C76FD334B0C2}"/>
              </a:ext>
            </a:extLst>
          </p:cNvPr>
          <p:cNvSpPr>
            <a:spLocks noGrp="1"/>
          </p:cNvSpPr>
          <p:nvPr>
            <p:ph type="title"/>
          </p:nvPr>
        </p:nvSpPr>
        <p:spPr/>
        <p:txBody>
          <a:bodyPr/>
          <a:lstStyle/>
          <a:p>
            <a:r>
              <a:rPr lang="en-IN" dirty="0"/>
              <a:t>Management System &amp; Quality Excellence </a:t>
            </a:r>
          </a:p>
        </p:txBody>
      </p:sp>
      <p:sp>
        <p:nvSpPr>
          <p:cNvPr id="5" name="Date Placeholder 4">
            <a:extLst>
              <a:ext uri="{FF2B5EF4-FFF2-40B4-BE49-F238E27FC236}">
                <a16:creationId xmlns:a16="http://schemas.microsoft.com/office/drawing/2014/main" id="{22DB0746-E010-40AA-A090-5DDFE0025293}"/>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6" name="Footer Placeholder 5">
            <a:extLst>
              <a:ext uri="{FF2B5EF4-FFF2-40B4-BE49-F238E27FC236}">
                <a16:creationId xmlns:a16="http://schemas.microsoft.com/office/drawing/2014/main" id="{AEF3E67E-8BCE-46CE-9E07-B20E177C6489}"/>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7" name="Slide Number Placeholder 6">
            <a:extLst>
              <a:ext uri="{FF2B5EF4-FFF2-40B4-BE49-F238E27FC236}">
                <a16:creationId xmlns:a16="http://schemas.microsoft.com/office/drawing/2014/main" id="{06AD7B70-3E16-4ED9-83BD-167697CD5797}"/>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7</a:t>
            </a:fld>
            <a:endParaRPr lang="en-US" dirty="0">
              <a:solidFill>
                <a:srgbClr val="F79646">
                  <a:lumMod val="75000"/>
                </a:srgbClr>
              </a:solidFill>
            </a:endParaRPr>
          </a:p>
        </p:txBody>
      </p:sp>
      <p:graphicFrame>
        <p:nvGraphicFramePr>
          <p:cNvPr id="11" name="Inhaltsplatzhalter 5">
            <a:extLst>
              <a:ext uri="{FF2B5EF4-FFF2-40B4-BE49-F238E27FC236}">
                <a16:creationId xmlns:a16="http://schemas.microsoft.com/office/drawing/2014/main" id="{518C72CF-06EE-4129-AB60-AA02F0D13E15}"/>
              </a:ext>
            </a:extLst>
          </p:cNvPr>
          <p:cNvGraphicFramePr>
            <a:graphicFrameLocks noGrp="1"/>
          </p:cNvGraphicFramePr>
          <p:nvPr>
            <p:ph idx="1"/>
            <p:extLst>
              <p:ext uri="{D42A27DB-BD31-4B8C-83A1-F6EECF244321}">
                <p14:modId xmlns:p14="http://schemas.microsoft.com/office/powerpoint/2010/main" val="3650608409"/>
              </p:ext>
            </p:extLst>
          </p:nvPr>
        </p:nvGraphicFramePr>
        <p:xfrm>
          <a:off x="381000" y="1361441"/>
          <a:ext cx="8879903" cy="4135118"/>
        </p:xfrm>
        <a:graphic>
          <a:graphicData uri="http://schemas.openxmlformats.org/drawingml/2006/table">
            <a:tbl>
              <a:tblPr firstRow="1" firstCol="1" bandRow="1">
                <a:tableStyleId>{5C22544A-7EE6-4342-B048-85BDC9FD1C3A}</a:tableStyleId>
              </a:tblPr>
              <a:tblGrid>
                <a:gridCol w="1476115">
                  <a:extLst>
                    <a:ext uri="{9D8B030D-6E8A-4147-A177-3AD203B41FA5}">
                      <a16:colId xmlns:a16="http://schemas.microsoft.com/office/drawing/2014/main" val="20000"/>
                    </a:ext>
                  </a:extLst>
                </a:gridCol>
                <a:gridCol w="1260189">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800200">
                  <a:extLst>
                    <a:ext uri="{9D8B030D-6E8A-4147-A177-3AD203B41FA5}">
                      <a16:colId xmlns:a16="http://schemas.microsoft.com/office/drawing/2014/main" val="20003"/>
                    </a:ext>
                  </a:extLst>
                </a:gridCol>
                <a:gridCol w="2111151">
                  <a:extLst>
                    <a:ext uri="{9D8B030D-6E8A-4147-A177-3AD203B41FA5}">
                      <a16:colId xmlns:a16="http://schemas.microsoft.com/office/drawing/2014/main" val="20004"/>
                    </a:ext>
                  </a:extLst>
                </a:gridCol>
              </a:tblGrid>
              <a:tr h="477363">
                <a:tc>
                  <a:txBody>
                    <a:bodyPr/>
                    <a:lstStyle/>
                    <a:p>
                      <a:pPr marL="45720" marR="46990" algn="just" eaLnBrk="0">
                        <a:spcBef>
                          <a:spcPts val="300"/>
                        </a:spcBef>
                        <a:spcAft>
                          <a:spcPts val="400"/>
                        </a:spcAft>
                      </a:pPr>
                      <a:r>
                        <a:rPr lang="en-US" sz="1200" spc="10" dirty="0">
                          <a:effectLst/>
                          <a:latin typeface="Verdana" panose="020B0604030504040204" pitchFamily="34" charset="0"/>
                          <a:ea typeface="Verdana" panose="020B0604030504040204" pitchFamily="34" charset="0"/>
                        </a:rPr>
                        <a:t>Document Type</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just" eaLnBrk="0">
                        <a:spcBef>
                          <a:spcPts val="300"/>
                        </a:spcBef>
                        <a:spcAft>
                          <a:spcPts val="400"/>
                        </a:spcAft>
                      </a:pPr>
                      <a:r>
                        <a:rPr lang="en-US" sz="1200" spc="10" dirty="0">
                          <a:effectLst/>
                          <a:latin typeface="Verdana" panose="020B0604030504040204" pitchFamily="34" charset="0"/>
                          <a:ea typeface="Verdana" panose="020B0604030504040204" pitchFamily="34" charset="0"/>
                        </a:rPr>
                        <a:t>Orientation</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just" eaLnBrk="0">
                        <a:spcBef>
                          <a:spcPts val="300"/>
                        </a:spcBef>
                        <a:spcAft>
                          <a:spcPts val="400"/>
                        </a:spcAft>
                      </a:pPr>
                      <a:r>
                        <a:rPr lang="en-US" sz="1200" spc="10" dirty="0">
                          <a:effectLst/>
                          <a:latin typeface="Verdana" panose="020B0604030504040204" pitchFamily="34" charset="0"/>
                          <a:ea typeface="Verdana" panose="020B0604030504040204" pitchFamily="34" charset="0"/>
                        </a:rPr>
                        <a:t>Content</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just" eaLnBrk="0">
                        <a:spcBef>
                          <a:spcPts val="300"/>
                        </a:spcBef>
                        <a:spcAft>
                          <a:spcPts val="400"/>
                        </a:spcAft>
                      </a:pPr>
                      <a:r>
                        <a:rPr lang="en-US" sz="1200" spc="10" dirty="0">
                          <a:effectLst/>
                          <a:latin typeface="Verdana" panose="020B0604030504040204" pitchFamily="34" charset="0"/>
                          <a:ea typeface="Verdana" panose="020B0604030504040204" pitchFamily="34" charset="0"/>
                        </a:rPr>
                        <a:t>Binding nature</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just" eaLnBrk="0">
                        <a:spcBef>
                          <a:spcPts val="300"/>
                        </a:spcBef>
                        <a:spcAft>
                          <a:spcPts val="400"/>
                        </a:spcAft>
                      </a:pPr>
                      <a:r>
                        <a:rPr lang="en-US" sz="1200" spc="10" dirty="0">
                          <a:effectLst/>
                          <a:latin typeface="Verdana" panose="020B0604030504040204" pitchFamily="34" charset="0"/>
                          <a:ea typeface="Verdana" panose="020B0604030504040204" pitchFamily="34" charset="0"/>
                        </a:rPr>
                        <a:t>Approver</a:t>
                      </a:r>
                      <a:endParaRPr lang="de-DE" sz="120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0"/>
                  </a:ext>
                </a:extLst>
              </a:tr>
              <a:tr h="692480">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Policy</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Strategic</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Vision, mission, values</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Binding</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Managing Director INVENTYS</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1"/>
                  </a:ext>
                </a:extLst>
              </a:tr>
              <a:tr h="656754">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Directive</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Methodological</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Key elements</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Binding</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Responsible Member of the INVENTYS Management Board</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2"/>
                  </a:ext>
                </a:extLst>
              </a:tr>
              <a:tr h="437837">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Procedure</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Operational</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Instructions</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Binding</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Head of INVENTYS function</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3"/>
                  </a:ext>
                </a:extLst>
              </a:tr>
              <a:tr h="692480">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Work instruction</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Operational</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Detailed instructions</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Binding</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Unit Manager</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4"/>
                  </a:ext>
                </a:extLst>
              </a:tr>
              <a:tr h="692480">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Guideline / Best Practice</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Operational</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Advice, Recommendations</a:t>
                      </a:r>
                      <a:endParaRPr lang="de-DE" sz="120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Non-binding (advisory)</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Unit Manager</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5"/>
                  </a:ext>
                </a:extLst>
              </a:tr>
              <a:tr h="485724">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Other documents</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Operational</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Not specified</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Document specific</a:t>
                      </a:r>
                      <a:endParaRPr lang="de-DE" sz="1200" dirty="0">
                        <a:effectLst/>
                        <a:latin typeface="Verdana" panose="020B0604030504040204" pitchFamily="34" charset="0"/>
                        <a:ea typeface="Verdana" panose="020B0604030504040204" pitchFamily="34" charset="0"/>
                      </a:endParaRPr>
                    </a:p>
                  </a:txBody>
                  <a:tcPr marL="68580" marR="68580" marT="0" marB="0" anchor="ctr"/>
                </a:tc>
                <a:tc>
                  <a:txBody>
                    <a:bodyPr/>
                    <a:lstStyle/>
                    <a:p>
                      <a:pPr marL="45720" marR="46990" algn="l" eaLnBrk="0">
                        <a:spcBef>
                          <a:spcPts val="300"/>
                        </a:spcBef>
                        <a:spcAft>
                          <a:spcPts val="400"/>
                        </a:spcAft>
                      </a:pPr>
                      <a:r>
                        <a:rPr lang="en-US" sz="1200" spc="10" dirty="0">
                          <a:effectLst/>
                          <a:latin typeface="Verdana" panose="020B0604030504040204" pitchFamily="34" charset="0"/>
                          <a:ea typeface="Verdana" panose="020B0604030504040204" pitchFamily="34" charset="0"/>
                        </a:rPr>
                        <a:t>Document specific</a:t>
                      </a:r>
                      <a:endParaRPr lang="de-DE" sz="1200" dirty="0">
                        <a:effectLst/>
                        <a:latin typeface="Verdana" panose="020B0604030504040204" pitchFamily="34" charset="0"/>
                        <a:ea typeface="Verdana" panose="020B0604030504040204" pitchFamily="34" charset="0"/>
                      </a:endParaRPr>
                    </a:p>
                  </a:txBody>
                  <a:tcPr marL="68580" marR="68580"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23447950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4E183-F47A-43DA-AE5F-89AC362FB81E}"/>
              </a:ext>
            </a:extLst>
          </p:cNvPr>
          <p:cNvSpPr>
            <a:spLocks noGrp="1"/>
          </p:cNvSpPr>
          <p:nvPr>
            <p:ph type="title"/>
          </p:nvPr>
        </p:nvSpPr>
        <p:spPr/>
        <p:txBody>
          <a:bodyPr/>
          <a:lstStyle/>
          <a:p>
            <a:r>
              <a:rPr lang="en-IN" dirty="0"/>
              <a:t>Management Organization </a:t>
            </a:r>
            <a:r>
              <a:rPr lang="en-IN" dirty="0">
                <a:solidFill>
                  <a:srgbClr val="008000"/>
                </a:solidFill>
              </a:rPr>
              <a:t>Quality</a:t>
            </a:r>
          </a:p>
        </p:txBody>
      </p:sp>
      <p:sp>
        <p:nvSpPr>
          <p:cNvPr id="4" name="Date Placeholder 3">
            <a:extLst>
              <a:ext uri="{FF2B5EF4-FFF2-40B4-BE49-F238E27FC236}">
                <a16:creationId xmlns:a16="http://schemas.microsoft.com/office/drawing/2014/main" id="{D5990261-6D22-449D-95E3-1EC002021C60}"/>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5943922B-4A3F-4F0D-A222-85FA540F2897}"/>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3B61F14E-7BBE-4393-8019-2DA4E04995DE}"/>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8</a:t>
            </a:fld>
            <a:endParaRPr lang="en-US" dirty="0">
              <a:solidFill>
                <a:srgbClr val="F79646">
                  <a:lumMod val="75000"/>
                </a:srgbClr>
              </a:solidFill>
            </a:endParaRPr>
          </a:p>
        </p:txBody>
      </p:sp>
      <p:graphicFrame>
        <p:nvGraphicFramePr>
          <p:cNvPr id="7" name="Diagram 6">
            <a:extLst>
              <a:ext uri="{FF2B5EF4-FFF2-40B4-BE49-F238E27FC236}">
                <a16:creationId xmlns:a16="http://schemas.microsoft.com/office/drawing/2014/main" id="{9D094155-FAAE-4E59-AB31-9017C5B780E9}"/>
              </a:ext>
            </a:extLst>
          </p:cNvPr>
          <p:cNvGraphicFramePr/>
          <p:nvPr>
            <p:extLst>
              <p:ext uri="{D42A27DB-BD31-4B8C-83A1-F6EECF244321}">
                <p14:modId xmlns:p14="http://schemas.microsoft.com/office/powerpoint/2010/main" val="1683671618"/>
              </p:ext>
            </p:extLst>
          </p:nvPr>
        </p:nvGraphicFramePr>
        <p:xfrm>
          <a:off x="937495" y="1252482"/>
          <a:ext cx="8054105" cy="47673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3595379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49859-D7B2-45C3-846F-342D1FAF58A4}"/>
              </a:ext>
            </a:extLst>
          </p:cNvPr>
          <p:cNvSpPr>
            <a:spLocks noGrp="1"/>
          </p:cNvSpPr>
          <p:nvPr>
            <p:ph type="title"/>
          </p:nvPr>
        </p:nvSpPr>
        <p:spPr/>
        <p:txBody>
          <a:bodyPr/>
          <a:lstStyle/>
          <a:p>
            <a:r>
              <a:rPr lang="en-IN" dirty="0"/>
              <a:t>Inventys QA Organization</a:t>
            </a:r>
          </a:p>
        </p:txBody>
      </p:sp>
      <p:sp>
        <p:nvSpPr>
          <p:cNvPr id="4" name="Date Placeholder 3">
            <a:extLst>
              <a:ext uri="{FF2B5EF4-FFF2-40B4-BE49-F238E27FC236}">
                <a16:creationId xmlns:a16="http://schemas.microsoft.com/office/drawing/2014/main" id="{8E6F1763-2AFA-4C01-A9A1-D78991DB1452}"/>
              </a:ext>
            </a:extLst>
          </p:cNvPr>
          <p:cNvSpPr>
            <a:spLocks noGrp="1"/>
          </p:cNvSpPr>
          <p:nvPr>
            <p:ph type="dt" sz="half" idx="10"/>
          </p:nvPr>
        </p:nvSpPr>
        <p:spPr/>
        <p:txBody>
          <a:bodyPr/>
          <a:lstStyle/>
          <a:p>
            <a:pPr algn="ctr" fontAlgn="base">
              <a:spcBef>
                <a:spcPct val="0"/>
              </a:spcBef>
              <a:spcAft>
                <a:spcPct val="0"/>
              </a:spcAft>
            </a:pPr>
            <a:r>
              <a:rPr lang="en-US">
                <a:solidFill>
                  <a:srgbClr val="F79646">
                    <a:lumMod val="75000"/>
                  </a:srgbClr>
                </a:solidFill>
              </a:rPr>
              <a:t>2024</a:t>
            </a:r>
            <a:endParaRPr lang="en-US" dirty="0">
              <a:solidFill>
                <a:srgbClr val="F79646">
                  <a:lumMod val="75000"/>
                </a:srgbClr>
              </a:solidFill>
            </a:endParaRPr>
          </a:p>
        </p:txBody>
      </p:sp>
      <p:sp>
        <p:nvSpPr>
          <p:cNvPr id="5" name="Footer Placeholder 4">
            <a:extLst>
              <a:ext uri="{FF2B5EF4-FFF2-40B4-BE49-F238E27FC236}">
                <a16:creationId xmlns:a16="http://schemas.microsoft.com/office/drawing/2014/main" id="{0166246C-FF55-4743-B460-212C5C391A3F}"/>
              </a:ext>
            </a:extLst>
          </p:cNvPr>
          <p:cNvSpPr>
            <a:spLocks noGrp="1"/>
          </p:cNvSpPr>
          <p:nvPr>
            <p:ph type="ftr" sz="quarter" idx="11"/>
          </p:nvPr>
        </p:nvSpPr>
        <p:spPr/>
        <p:txBody>
          <a:bodyPr/>
          <a:lstStyle/>
          <a:p>
            <a:pPr fontAlgn="base">
              <a:spcBef>
                <a:spcPct val="0"/>
              </a:spcBef>
              <a:spcAft>
                <a:spcPct val="0"/>
              </a:spcAft>
            </a:pPr>
            <a:r>
              <a:rPr lang="en-US">
                <a:solidFill>
                  <a:srgbClr val="F79646">
                    <a:lumMod val="75000"/>
                  </a:srgbClr>
                </a:solidFill>
              </a:rPr>
              <a:t>COMPANY CONFIDENTIAL</a:t>
            </a:r>
            <a:endParaRPr lang="en-US" dirty="0">
              <a:solidFill>
                <a:srgbClr val="F79646">
                  <a:lumMod val="75000"/>
                </a:srgbClr>
              </a:solidFill>
            </a:endParaRPr>
          </a:p>
        </p:txBody>
      </p:sp>
      <p:sp>
        <p:nvSpPr>
          <p:cNvPr id="6" name="Slide Number Placeholder 5">
            <a:extLst>
              <a:ext uri="{FF2B5EF4-FFF2-40B4-BE49-F238E27FC236}">
                <a16:creationId xmlns:a16="http://schemas.microsoft.com/office/drawing/2014/main" id="{9E0F6C88-83CE-4021-9F9F-A17478366763}"/>
              </a:ext>
            </a:extLst>
          </p:cNvPr>
          <p:cNvSpPr>
            <a:spLocks noGrp="1"/>
          </p:cNvSpPr>
          <p:nvPr>
            <p:ph type="sldNum" sz="quarter" idx="12"/>
          </p:nvPr>
        </p:nvSpPr>
        <p:spPr/>
        <p:txBody>
          <a:bodyPr/>
          <a:lstStyle/>
          <a:p>
            <a:pPr fontAlgn="base">
              <a:spcBef>
                <a:spcPct val="0"/>
              </a:spcBef>
              <a:spcAft>
                <a:spcPct val="0"/>
              </a:spcAft>
            </a:pPr>
            <a:fld id="{D68B18B0-18E5-4EFD-9313-EA08739BD0D8}" type="slidenum">
              <a:rPr lang="en-US" smtClean="0">
                <a:solidFill>
                  <a:srgbClr val="F79646">
                    <a:lumMod val="75000"/>
                  </a:srgbClr>
                </a:solidFill>
              </a:rPr>
              <a:pPr fontAlgn="base">
                <a:spcBef>
                  <a:spcPct val="0"/>
                </a:spcBef>
                <a:spcAft>
                  <a:spcPct val="0"/>
                </a:spcAft>
              </a:pPr>
              <a:t>9</a:t>
            </a:fld>
            <a:endParaRPr lang="en-US" dirty="0">
              <a:solidFill>
                <a:srgbClr val="F79646">
                  <a:lumMod val="75000"/>
                </a:srgbClr>
              </a:solidFill>
            </a:endParaRPr>
          </a:p>
        </p:txBody>
      </p:sp>
      <p:graphicFrame>
        <p:nvGraphicFramePr>
          <p:cNvPr id="7" name="Content Placeholder 9">
            <a:extLst>
              <a:ext uri="{FF2B5EF4-FFF2-40B4-BE49-F238E27FC236}">
                <a16:creationId xmlns:a16="http://schemas.microsoft.com/office/drawing/2014/main" id="{A13F7517-C035-4C0B-BBBF-9F8924AAB636}"/>
              </a:ext>
            </a:extLst>
          </p:cNvPr>
          <p:cNvGraphicFramePr>
            <a:graphicFrameLocks noGrp="1"/>
          </p:cNvGraphicFramePr>
          <p:nvPr>
            <p:ph idx="1"/>
            <p:extLst>
              <p:ext uri="{D42A27DB-BD31-4B8C-83A1-F6EECF244321}">
                <p14:modId xmlns:p14="http://schemas.microsoft.com/office/powerpoint/2010/main" val="658950249"/>
              </p:ext>
            </p:extLst>
          </p:nvPr>
        </p:nvGraphicFramePr>
        <p:xfrm>
          <a:off x="234950" y="838200"/>
          <a:ext cx="9212263" cy="5394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20251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5rWDFsvU2qwTf4UW6T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Bqr4rR.PU6orLg2ikYz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Qo5ErTZBkGMVG0bSCVU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SDmunc7pE2ObjU6WdwM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ePj23gC2EWB9zGK6AVJ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bZ03efgKEGchdE9foH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FfkHL_PKk.SvnxhlkDt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DDsoWn4PECO3wMo9FvQ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KNV_Rhz6UW9biQ_.N3s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121zfey7E6Vt9u9Yq7V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zJNC0GZQEiLVZ5U.KQl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mULiq1CEK7UT4P7bJ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5D0CANG.0Cf7VPmbRAm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pdsWe9NVkaFFlI5mdnx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CbP5iJMTUuRfDex8a8K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vcq_YhlX0Oa6VtpDvT1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J9FYvahyESmYoVv5vR1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8lbv40ziEGhpTQnOucU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FiG5pG3bEiDmiY82rQ0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JXQkLYZbUyC4vbGu9B9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TCwY2Fo7UyRp7NKwA41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HqqO6D3WkytaVuXGXDl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0eEO0vkfEibJi4Kj_tF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I7Mc0buNEmQWs_THb4Z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nQCqKTZ_ECiXkz_WT.q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vFmtz7AukCIIZxMtgrd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39N0jm7jkyS1AbDyhcK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rwL6UUDjEiVs.jbgRih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AjqYk9KrUqcYujaFO4m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vQ1_yGmP0WdxBdzPxH1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GsS77JgoUC3FnIgdCAg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9U0W_h47H0yg4crjJk3h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k.RnzWPKkKMocgcn92g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f2QHUXctE.hKn5f7731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NZDxKIITEuT69BJXmmw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PEoFiFrlUmg.awEfZSO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TV4cmHn0meDoGCL6gI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veKKJfZzkiPe98q4C.b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bK1AXo740OQL5C.JQOP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DC4PCIYoEGI_YXW.MB2b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mh0xSkJKkCzvavb6bne7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TRy.ago1E2DA0A2.weK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8v3wsg4kUehUfGnkWUS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j5s1upRwk.5lXl5Pdut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VfUFRnE3UW0V._JD7QvY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KfGrsVvc0O1egJKigSC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YLRt0MwB0uzCpzFZjK_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tzel3o8oEq9fH7AyVH0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6zOA4SL8U23T3uzRPuy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jTKY99r0.I_TFEd0pBfQ"/>
</p:tagLst>
</file>

<file path=ppt/theme/theme1.xml><?xml version="1.0" encoding="utf-8"?>
<a:theme xmlns:a="http://schemas.openxmlformats.org/drawingml/2006/main" name="InventyS_MultiGro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OL2003">
      <a:majorFont>
        <a:latin typeface="Neuropolitical"/>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9175" rtl="0" eaLnBrk="1" fontAlgn="base" latinLnBrk="0" hangingPunct="1">
          <a:lnSpc>
            <a:spcPct val="100000"/>
          </a:lnSpc>
          <a:spcBef>
            <a:spcPct val="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19175" rtl="0" eaLnBrk="1" fontAlgn="base" latinLnBrk="0" hangingPunct="1">
          <a:lnSpc>
            <a:spcPct val="100000"/>
          </a:lnSpc>
          <a:spcBef>
            <a:spcPct val="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MOL200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L200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L200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L200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L200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L200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L200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Template Inventys 2024" id="{6228E2CE-E294-4BB2-8977-206BCA95D2DE}" vid="{83FAAA0C-1F90-44C2-84DE-65A00C7535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Template Inventys 2024</Template>
  <TotalTime>69</TotalTime>
  <Words>2149</Words>
  <Application>Microsoft Office PowerPoint</Application>
  <PresentationFormat>A4 Paper (210x297 mm)</PresentationFormat>
  <Paragraphs>565</Paragraphs>
  <Slides>28</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0" baseType="lpstr">
      <vt:lpstr>Arial</vt:lpstr>
      <vt:lpstr>Calibri</vt:lpstr>
      <vt:lpstr>Fira Sans Extra Condensed Medium</vt:lpstr>
      <vt:lpstr>inherit</vt:lpstr>
      <vt:lpstr>Microsoft Sans Serif</vt:lpstr>
      <vt:lpstr>Neuropolitical</vt:lpstr>
      <vt:lpstr>Roboto</vt:lpstr>
      <vt:lpstr>Tahoma</vt:lpstr>
      <vt:lpstr>Times New Roman</vt:lpstr>
      <vt:lpstr>Verdana</vt:lpstr>
      <vt:lpstr>InventyS_MultiGroup</vt:lpstr>
      <vt:lpstr>Document</vt:lpstr>
      <vt:lpstr>Quality Management System at Inventys</vt:lpstr>
      <vt:lpstr>Quality Management System</vt:lpstr>
      <vt:lpstr>Quality, Health, Safety and Environment Policy 1/3</vt:lpstr>
      <vt:lpstr>Quality, Health, Safety and Environment Policy 2/3</vt:lpstr>
      <vt:lpstr>Quality, Health, Safety and Environment Policy 3/3</vt:lpstr>
      <vt:lpstr>Management System &amp; Quality Excellence </vt:lpstr>
      <vt:lpstr>Management System &amp; Quality Excellence </vt:lpstr>
      <vt:lpstr>Management Organization Quality</vt:lpstr>
      <vt:lpstr>Inventys QA Organization</vt:lpstr>
      <vt:lpstr>Inventys QC Organization</vt:lpstr>
      <vt:lpstr>5 Key Components of  Good Manufacturing Practices</vt:lpstr>
      <vt:lpstr>10 Principles of GMP 1/2</vt:lpstr>
      <vt:lpstr>10 Principles of GMP 2/2</vt:lpstr>
      <vt:lpstr>Certifications</vt:lpstr>
      <vt:lpstr>Continuous Education </vt:lpstr>
      <vt:lpstr>Quality INVENTYS Standards</vt:lpstr>
      <vt:lpstr>Quality Assurance Responsibilities</vt:lpstr>
      <vt:lpstr>Quality Control &amp; ADL Infrastructure</vt:lpstr>
      <vt:lpstr>Quality Element INVENTYS Audit process</vt:lpstr>
      <vt:lpstr>Quality &amp; CAPA INVENTYS Process</vt:lpstr>
      <vt:lpstr>Standard Operating Procedures</vt:lpstr>
      <vt:lpstr>Plant Walk-Through</vt:lpstr>
      <vt:lpstr>Material Movement </vt:lpstr>
      <vt:lpstr>Production flow </vt:lpstr>
      <vt:lpstr>Quality control Instrumentation</vt:lpstr>
      <vt:lpstr>Process Flow by Gravity</vt:lpstr>
      <vt:lpstr> Purified Water System: 2 KL /hr  </vt:lpstr>
      <vt:lpstr>Summary Quality management System </vt:lpstr>
    </vt:vector>
  </TitlesOfParts>
  <Company>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lity Management System at Inventys</dc:title>
  <dc:creator>Kamat Umesh</dc:creator>
  <cp:lastModifiedBy>Dr Deepak Birewar</cp:lastModifiedBy>
  <cp:revision>12</cp:revision>
  <cp:lastPrinted>2022-10-29T13:39:43Z</cp:lastPrinted>
  <dcterms:created xsi:type="dcterms:W3CDTF">2024-02-01T12:11:45Z</dcterms:created>
  <dcterms:modified xsi:type="dcterms:W3CDTF">2024-03-01T03:46:55Z</dcterms:modified>
</cp:coreProperties>
</file>